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1" r:id="rId1"/>
    <p:sldMasterId id="2147483725" r:id="rId2"/>
    <p:sldMasterId id="2147483704" r:id="rId3"/>
    <p:sldMasterId id="2147483694" r:id="rId4"/>
    <p:sldMasterId id="2147484020" r:id="rId5"/>
    <p:sldMasterId id="2147484033" r:id="rId6"/>
    <p:sldMasterId id="2147484043" r:id="rId7"/>
    <p:sldMasterId id="2147484053" r:id="rId8"/>
  </p:sldMasterIdLst>
  <p:notesMasterIdLst>
    <p:notesMasterId r:id="rId23"/>
  </p:notesMasterIdLst>
  <p:handoutMasterIdLst>
    <p:handoutMasterId r:id="rId24"/>
  </p:handoutMasterIdLst>
  <p:sldIdLst>
    <p:sldId id="411" r:id="rId9"/>
    <p:sldId id="425" r:id="rId10"/>
    <p:sldId id="436" r:id="rId11"/>
    <p:sldId id="440" r:id="rId12"/>
    <p:sldId id="442" r:id="rId13"/>
    <p:sldId id="451" r:id="rId14"/>
    <p:sldId id="454" r:id="rId15"/>
    <p:sldId id="443" r:id="rId16"/>
    <p:sldId id="444" r:id="rId17"/>
    <p:sldId id="445" r:id="rId18"/>
    <p:sldId id="447" r:id="rId19"/>
    <p:sldId id="449" r:id="rId20"/>
    <p:sldId id="450" r:id="rId21"/>
    <p:sldId id="455" r:id="rId22"/>
  </p:sldIdLst>
  <p:sldSz cx="10688638" cy="7562850"/>
  <p:notesSz cx="6799263" cy="9869488"/>
  <p:custDataLst>
    <p:tags r:id="rId25"/>
  </p:custDataLst>
  <p:defaultTextStyle>
    <a:defPPr>
      <a:defRPr lang="ru-RU"/>
    </a:defPPr>
    <a:lvl1pPr algn="l" defTabSz="520700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520700" indent="-63500" algn="l" defTabSz="520700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1041400" indent="-127000" algn="l" defTabSz="520700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563688" indent="-192088" algn="l" defTabSz="520700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2084388" indent="-255588" algn="l" defTabSz="520700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1293" userDrawn="1">
          <p15:clr>
            <a:srgbClr val="A4A3A4"/>
          </p15:clr>
        </p15:guide>
        <p15:guide id="10" pos="826" userDrawn="1">
          <p15:clr>
            <a:srgbClr val="A4A3A4"/>
          </p15:clr>
        </p15:guide>
        <p15:guide id="11" pos="6519" userDrawn="1">
          <p15:clr>
            <a:srgbClr val="A4A3A4"/>
          </p15:clr>
        </p15:guide>
        <p15:guide id="16" orient="horz" pos="4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mytro Oliinyk" initials="DO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85D"/>
    <a:srgbClr val="8AC4EA"/>
    <a:srgbClr val="3E4852"/>
    <a:srgbClr val="414E57"/>
    <a:srgbClr val="B99BC4"/>
    <a:srgbClr val="212628"/>
    <a:srgbClr val="FCA963"/>
    <a:srgbClr val="70CAC1"/>
    <a:srgbClr val="014946"/>
    <a:srgbClr val="E0E2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64" autoAdjust="0"/>
    <p:restoredTop sz="94660"/>
  </p:normalViewPr>
  <p:slideViewPr>
    <p:cSldViewPr snapToGrid="0" snapToObjects="1" showGuides="1">
      <p:cViewPr varScale="1">
        <p:scale>
          <a:sx n="80" d="100"/>
          <a:sy n="80" d="100"/>
        </p:scale>
        <p:origin x="324" y="48"/>
      </p:cViewPr>
      <p:guideLst>
        <p:guide orient="horz" pos="1293"/>
        <p:guide pos="826"/>
        <p:guide pos="6519"/>
        <p:guide orient="horz" pos="4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2" d="100"/>
          <a:sy n="62" d="100"/>
        </p:scale>
        <p:origin x="335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6347" cy="493474"/>
          </a:xfrm>
          <a:prstGeom prst="rect">
            <a:avLst/>
          </a:prstGeom>
        </p:spPr>
        <p:txBody>
          <a:bodyPr vert="horz" lIns="91614" tIns="45807" rIns="91614" bIns="45807" rtlCol="0"/>
          <a:lstStyle>
            <a:lvl1pPr algn="l" defTabSz="522428">
              <a:defRPr sz="1200">
                <a:latin typeface="Calibri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345" y="0"/>
            <a:ext cx="2946347" cy="493474"/>
          </a:xfrm>
          <a:prstGeom prst="rect">
            <a:avLst/>
          </a:prstGeom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Arial" pitchFamily="34" charset="0"/>
              </a:defRPr>
            </a:lvl1pPr>
          </a:lstStyle>
          <a:p>
            <a:fld id="{C8564809-2AEE-486C-BFE1-5F3F901886F4}" type="datetimeFigureOut">
              <a:rPr lang="en-US" altLang="en-US"/>
              <a:pPr/>
              <a:t>9/28/2016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374302"/>
            <a:ext cx="2946347" cy="493474"/>
          </a:xfrm>
          <a:prstGeom prst="rect">
            <a:avLst/>
          </a:prstGeom>
        </p:spPr>
        <p:txBody>
          <a:bodyPr vert="horz" lIns="91614" tIns="45807" rIns="91614" bIns="45807" rtlCol="0" anchor="b"/>
          <a:lstStyle>
            <a:lvl1pPr algn="l" defTabSz="522428">
              <a:defRPr sz="1200">
                <a:latin typeface="Calibri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345" y="9374302"/>
            <a:ext cx="2946347" cy="493474"/>
          </a:xfrm>
          <a:prstGeom prst="rect">
            <a:avLst/>
          </a:prstGeom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Arial" pitchFamily="34" charset="0"/>
              </a:defRPr>
            </a:lvl1pPr>
          </a:lstStyle>
          <a:p>
            <a:fld id="{5BFA8B88-5FE1-4A21-83DC-E685B491496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9523487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6347" cy="493474"/>
          </a:xfrm>
          <a:prstGeom prst="rect">
            <a:avLst/>
          </a:prstGeom>
        </p:spPr>
        <p:txBody>
          <a:bodyPr vert="horz" lIns="91614" tIns="45807" rIns="91614" bIns="4580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1345" y="0"/>
            <a:ext cx="2946347" cy="493474"/>
          </a:xfrm>
          <a:prstGeom prst="rect">
            <a:avLst/>
          </a:prstGeom>
        </p:spPr>
        <p:txBody>
          <a:bodyPr vert="horz" lIns="91614" tIns="45807" rIns="91614" bIns="45807" rtlCol="0"/>
          <a:lstStyle>
            <a:lvl1pPr algn="r">
              <a:defRPr sz="1200"/>
            </a:lvl1pPr>
          </a:lstStyle>
          <a:p>
            <a:fld id="{8BCACEE5-6A05-472E-BCFA-30971357D3F0}" type="datetimeFigureOut">
              <a:rPr lang="en-US" smtClean="0"/>
              <a:t>9/28/2016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84225" y="739775"/>
            <a:ext cx="5230813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14" tIns="45807" rIns="91614" bIns="45807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27" y="4688007"/>
            <a:ext cx="5439410" cy="4441270"/>
          </a:xfrm>
          <a:prstGeom prst="rect">
            <a:avLst/>
          </a:prstGeom>
        </p:spPr>
        <p:txBody>
          <a:bodyPr vert="horz" lIns="91614" tIns="45807" rIns="91614" bIns="4580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4302"/>
            <a:ext cx="2946347" cy="493474"/>
          </a:xfrm>
          <a:prstGeom prst="rect">
            <a:avLst/>
          </a:prstGeom>
        </p:spPr>
        <p:txBody>
          <a:bodyPr vert="horz" lIns="91614" tIns="45807" rIns="91614" bIns="4580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1345" y="9374302"/>
            <a:ext cx="2946347" cy="493474"/>
          </a:xfrm>
          <a:prstGeom prst="rect">
            <a:avLst/>
          </a:prstGeom>
        </p:spPr>
        <p:txBody>
          <a:bodyPr vert="horz" lIns="91614" tIns="45807" rIns="91614" bIns="45807" rtlCol="0" anchor="b"/>
          <a:lstStyle>
            <a:lvl1pPr algn="r">
              <a:defRPr sz="1200"/>
            </a:lvl1pPr>
          </a:lstStyle>
          <a:p>
            <a:fld id="{DB690F35-2D22-421F-89DF-27501362E0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3453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74134"/>
            <a:ext cx="9837778" cy="1503826"/>
          </a:xfrm>
          <a:solidFill>
            <a:srgbClr val="6BBBAE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ru-RU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48711" y="2506663"/>
            <a:ext cx="9837779" cy="447516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79360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5" y="478367"/>
            <a:ext cx="9837779" cy="1508760"/>
          </a:xfrm>
          <a:solidFill>
            <a:srgbClr val="92C1E9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9850438" y="7083425"/>
            <a:ext cx="83820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kumimoji="1" sz="4600" kern="1200" baseline="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1pPr>
            <a:lvl2pPr marL="520700" indent="-63500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2pPr>
            <a:lvl3pPr marL="1042988" indent="-128588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3pPr>
            <a:lvl4pPr marL="1563688" indent="-192088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4pPr>
            <a:lvl5pPr marL="2085975" indent="-257175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3400EF4-D14B-4B3E-8643-5A6D23594193}" type="slidenum">
              <a:rPr lang="uk-UA" sz="1400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 algn="r"/>
              <a:t>‹#›</a:t>
            </a:fld>
            <a:endParaRPr lang="uk-UA" sz="1400" dirty="0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431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8487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i="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660190" y="7009643"/>
            <a:ext cx="2494016" cy="402652"/>
          </a:xfrm>
          <a:prstGeom prst="rect">
            <a:avLst/>
          </a:prstGeom>
        </p:spPr>
        <p:txBody>
          <a:bodyPr lIns="99551" tIns="49775" rIns="99551" bIns="49775"/>
          <a:lstStyle/>
          <a:p>
            <a:fld id="{D2D60487-EF63-4C74-8902-B9A9FB25E80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2717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7"/>
          <p:cNvSpPr>
            <a:spLocks noChangeArrowheads="1"/>
          </p:cNvSpPr>
          <p:nvPr userDrawn="1"/>
        </p:nvSpPr>
        <p:spPr bwMode="auto">
          <a:xfrm>
            <a:off x="0" y="0"/>
            <a:ext cx="10688638" cy="75628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104287" tIns="52144" rIns="104287" bIns="52144" anchor="ctr"/>
          <a:lstStyle/>
          <a:p>
            <a:pPr algn="ctr" defTabSz="5214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ru-RU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5" name="Freeform 7"/>
          <p:cNvSpPr/>
          <p:nvPr userDrawn="1"/>
        </p:nvSpPr>
        <p:spPr>
          <a:xfrm>
            <a:off x="439738" y="804863"/>
            <a:ext cx="9837737" cy="6300787"/>
          </a:xfrm>
          <a:custGeom>
            <a:avLst/>
            <a:gdLst>
              <a:gd name="connsiteX0" fmla="*/ 9758223 w 9758223"/>
              <a:gd name="connsiteY0" fmla="*/ 6280264 h 6280264"/>
              <a:gd name="connsiteX1" fmla="*/ 0 w 9758223"/>
              <a:gd name="connsiteY1" fmla="*/ 6280264 h 6280264"/>
              <a:gd name="connsiteX2" fmla="*/ 0 w 9758223"/>
              <a:gd name="connsiteY2" fmla="*/ 0 h 6280264"/>
              <a:gd name="connsiteX3" fmla="*/ 9758223 w 9758223"/>
              <a:gd name="connsiteY3" fmla="*/ 0 h 6280264"/>
              <a:gd name="connsiteX4" fmla="*/ 9758223 w 9758223"/>
              <a:gd name="connsiteY4" fmla="*/ 6280264 h 628026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280264">
                <a:moveTo>
                  <a:pt x="9758223" y="6280264"/>
                </a:moveTo>
                <a:lnTo>
                  <a:pt x="0" y="6280264"/>
                </a:lnTo>
                <a:lnTo>
                  <a:pt x="0" y="0"/>
                </a:lnTo>
                <a:lnTo>
                  <a:pt x="9758223" y="0"/>
                </a:lnTo>
                <a:lnTo>
                  <a:pt x="9758223" y="6280264"/>
                </a:lnTo>
              </a:path>
            </a:pathLst>
          </a:custGeom>
          <a:solidFill>
            <a:srgbClr val="8AC4EA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/>
          </a:p>
        </p:txBody>
      </p:sp>
      <p:pic>
        <p:nvPicPr>
          <p:cNvPr id="6" name="Picture 28" descr="oschad-01.jp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638" y="396875"/>
            <a:ext cx="1617662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3"/>
          <p:cNvSpPr>
            <a:spLocks noGrp="1"/>
          </p:cNvSpPr>
          <p:nvPr>
            <p:ph type="body" sz="quarter" idx="10"/>
          </p:nvPr>
        </p:nvSpPr>
        <p:spPr>
          <a:xfrm>
            <a:off x="1310680" y="2259398"/>
            <a:ext cx="7926416" cy="3709602"/>
          </a:xfrm>
        </p:spPr>
        <p:txBody>
          <a:bodyPr>
            <a:noAutofit/>
          </a:bodyPr>
          <a:lstStyle>
            <a:lvl1pPr marL="0" indent="0">
              <a:buNone/>
              <a:defRPr sz="4600" baseline="0">
                <a:solidFill>
                  <a:srgbClr val="FFFFFF"/>
                </a:solidFill>
              </a:defRPr>
            </a:lvl1pPr>
            <a:lvl2pPr>
              <a:defRPr sz="5500">
                <a:solidFill>
                  <a:srgbClr val="FFFFFF"/>
                </a:solidFill>
              </a:defRPr>
            </a:lvl2pPr>
            <a:lvl3pPr>
              <a:defRPr sz="5500">
                <a:solidFill>
                  <a:srgbClr val="FFFFFF"/>
                </a:solidFill>
              </a:defRPr>
            </a:lvl3pPr>
            <a:lvl4pPr>
              <a:defRPr sz="5500">
                <a:solidFill>
                  <a:srgbClr val="FFFFFF"/>
                </a:solidFill>
              </a:defRPr>
            </a:lvl4pPr>
            <a:lvl5pPr>
              <a:defRPr sz="5500">
                <a:solidFill>
                  <a:srgbClr val="FFFFFF"/>
                </a:solidFill>
              </a:defRPr>
            </a:lvl5pPr>
          </a:lstStyle>
          <a:p>
            <a:r>
              <a:rPr lang="ru-RU" altLang="zh-CN" dirty="0" smtClean="0"/>
              <a:t>Образец текста</a:t>
            </a:r>
            <a:endParaRPr lang="en-US" altLang="zh-CN" dirty="0" smtClean="0"/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1"/>
          </p:nvPr>
        </p:nvSpPr>
        <p:spPr>
          <a:xfrm>
            <a:off x="1781440" y="6461686"/>
            <a:ext cx="4070092" cy="429037"/>
          </a:xfrm>
        </p:spPr>
        <p:txBody>
          <a:bodyPr/>
          <a:lstStyle>
            <a:lvl1pPr marL="0" marR="0" indent="0" algn="l" defTabSz="5207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smtClean="0"/>
              <a:t>Образец текста</a:t>
            </a:r>
          </a:p>
          <a:p>
            <a:pPr lvl="1"/>
            <a:r>
              <a:rPr lang="ru-RU" altLang="zh-CN" smtClean="0"/>
              <a:t>Второй уровень</a:t>
            </a:r>
          </a:p>
        </p:txBody>
      </p:sp>
      <p:sp>
        <p:nvSpPr>
          <p:cNvPr id="7" name="Freeform 7"/>
          <p:cNvSpPr/>
          <p:nvPr userDrawn="1"/>
        </p:nvSpPr>
        <p:spPr>
          <a:xfrm>
            <a:off x="439738" y="2928264"/>
            <a:ext cx="9837737" cy="2098800"/>
          </a:xfrm>
          <a:custGeom>
            <a:avLst/>
            <a:gdLst>
              <a:gd name="connsiteX0" fmla="*/ 9758223 w 9758223"/>
              <a:gd name="connsiteY0" fmla="*/ 6280264 h 6280264"/>
              <a:gd name="connsiteX1" fmla="*/ 0 w 9758223"/>
              <a:gd name="connsiteY1" fmla="*/ 6280264 h 6280264"/>
              <a:gd name="connsiteX2" fmla="*/ 0 w 9758223"/>
              <a:gd name="connsiteY2" fmla="*/ 0 h 6280264"/>
              <a:gd name="connsiteX3" fmla="*/ 9758223 w 9758223"/>
              <a:gd name="connsiteY3" fmla="*/ 0 h 6280264"/>
              <a:gd name="connsiteX4" fmla="*/ 9758223 w 9758223"/>
              <a:gd name="connsiteY4" fmla="*/ 6280264 h 628026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280264">
                <a:moveTo>
                  <a:pt x="9758223" y="6280264"/>
                </a:moveTo>
                <a:lnTo>
                  <a:pt x="0" y="6280264"/>
                </a:lnTo>
                <a:lnTo>
                  <a:pt x="0" y="0"/>
                </a:lnTo>
                <a:lnTo>
                  <a:pt x="9758223" y="0"/>
                </a:lnTo>
                <a:lnTo>
                  <a:pt x="9758223" y="6280264"/>
                </a:lnTo>
              </a:path>
            </a:pathLst>
          </a:custGeom>
          <a:solidFill>
            <a:srgbClr val="E0E22A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/>
          </a:p>
        </p:txBody>
      </p:sp>
      <p:sp>
        <p:nvSpPr>
          <p:cNvPr id="10" name="Freeform 7"/>
          <p:cNvSpPr/>
          <p:nvPr userDrawn="1"/>
        </p:nvSpPr>
        <p:spPr>
          <a:xfrm>
            <a:off x="439738" y="5006850"/>
            <a:ext cx="9837737" cy="2098800"/>
          </a:xfrm>
          <a:custGeom>
            <a:avLst/>
            <a:gdLst>
              <a:gd name="connsiteX0" fmla="*/ 9758223 w 9758223"/>
              <a:gd name="connsiteY0" fmla="*/ 6280264 h 6280264"/>
              <a:gd name="connsiteX1" fmla="*/ 0 w 9758223"/>
              <a:gd name="connsiteY1" fmla="*/ 6280264 h 6280264"/>
              <a:gd name="connsiteX2" fmla="*/ 0 w 9758223"/>
              <a:gd name="connsiteY2" fmla="*/ 0 h 6280264"/>
              <a:gd name="connsiteX3" fmla="*/ 9758223 w 9758223"/>
              <a:gd name="connsiteY3" fmla="*/ 0 h 6280264"/>
              <a:gd name="connsiteX4" fmla="*/ 9758223 w 9758223"/>
              <a:gd name="connsiteY4" fmla="*/ 6280264 h 628026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280264">
                <a:moveTo>
                  <a:pt x="9758223" y="6280264"/>
                </a:moveTo>
                <a:lnTo>
                  <a:pt x="0" y="6280264"/>
                </a:lnTo>
                <a:lnTo>
                  <a:pt x="0" y="0"/>
                </a:lnTo>
                <a:lnTo>
                  <a:pt x="9758223" y="0"/>
                </a:lnTo>
                <a:lnTo>
                  <a:pt x="9758223" y="6280264"/>
                </a:lnTo>
              </a:path>
            </a:pathLst>
          </a:custGeom>
          <a:solidFill>
            <a:srgbClr val="FF585D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/>
          </a:p>
        </p:txBody>
      </p:sp>
    </p:spTree>
    <p:extLst>
      <p:ext uri="{BB962C8B-B14F-4D97-AF65-F5344CB8AC3E}">
        <p14:creationId xmlns:p14="http://schemas.microsoft.com/office/powerpoint/2010/main" val="3042749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азделительный слайд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 userDrawn="1"/>
        </p:nvSpPr>
        <p:spPr>
          <a:xfrm>
            <a:off x="449263" y="439738"/>
            <a:ext cx="9837737" cy="6669087"/>
          </a:xfrm>
          <a:custGeom>
            <a:avLst/>
            <a:gdLst>
              <a:gd name="connsiteX0" fmla="*/ 9758223 w 9758223"/>
              <a:gd name="connsiteY0" fmla="*/ 6626035 h 6626035"/>
              <a:gd name="connsiteX1" fmla="*/ 0 w 9758223"/>
              <a:gd name="connsiteY1" fmla="*/ 6626035 h 6626035"/>
              <a:gd name="connsiteX2" fmla="*/ 0 w 9758223"/>
              <a:gd name="connsiteY2" fmla="*/ 0 h 6626035"/>
              <a:gd name="connsiteX3" fmla="*/ 9758223 w 9758223"/>
              <a:gd name="connsiteY3" fmla="*/ 0 h 6626035"/>
              <a:gd name="connsiteX4" fmla="*/ 9758223 w 9758223"/>
              <a:gd name="connsiteY4" fmla="*/ 6626035 h 662603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626035">
                <a:moveTo>
                  <a:pt x="9758223" y="6626035"/>
                </a:moveTo>
                <a:lnTo>
                  <a:pt x="0" y="6626035"/>
                </a:lnTo>
                <a:lnTo>
                  <a:pt x="0" y="0"/>
                </a:lnTo>
                <a:lnTo>
                  <a:pt x="9758223" y="0"/>
                </a:lnTo>
                <a:lnTo>
                  <a:pt x="9758223" y="6626035"/>
                </a:lnTo>
              </a:path>
            </a:pathLst>
          </a:custGeom>
          <a:solidFill>
            <a:srgbClr val="FF585D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/>
          </a:p>
        </p:txBody>
      </p: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781175" y="2408238"/>
            <a:ext cx="4806950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6500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разделительный</a:t>
            </a:r>
          </a:p>
          <a:p>
            <a:pPr eaLnBrk="1" hangingPunct="1">
              <a:lnSpc>
                <a:spcPts val="5813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слайд</a:t>
            </a: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0"/>
          </p:nvPr>
        </p:nvSpPr>
        <p:spPr>
          <a:xfrm>
            <a:off x="1781440" y="6461686"/>
            <a:ext cx="4070092" cy="429037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045126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9901"/>
            <a:ext cx="9837778" cy="1508760"/>
          </a:xfrm>
          <a:solidFill>
            <a:srgbClr val="FF585D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75410" y="2335213"/>
            <a:ext cx="9511079" cy="448468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81600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1434"/>
            <a:ext cx="9837778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1826" y="2283334"/>
            <a:ext cx="4573421" cy="44861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3391" y="2283334"/>
            <a:ext cx="4853098" cy="44861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65085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9901"/>
            <a:ext cx="9837778" cy="150876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altLang="zh-CN" dirty="0" smtClean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08565" y="2283335"/>
            <a:ext cx="4840081" cy="357314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 marL="521437" indent="0">
              <a:buNone/>
              <a:defRPr sz="1700"/>
            </a:lvl2pPr>
            <a:lvl3pPr marL="1042873" indent="0">
              <a:buNone/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651951" y="2283334"/>
            <a:ext cx="6634538" cy="4486100"/>
          </a:xfrm>
        </p:spPr>
        <p:txBody>
          <a:bodyPr>
            <a:normAutofit/>
          </a:bodyPr>
          <a:lstStyle>
            <a:lvl1pPr marL="0" indent="0" algn="ctr">
              <a:buNone/>
              <a:defRPr sz="6800">
                <a:solidFill>
                  <a:srgbClr val="7F7F7F"/>
                </a:solidFill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68656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9901"/>
            <a:ext cx="9837778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altLang="zh-CN" dirty="0" smtClean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48712" y="2283334"/>
            <a:ext cx="2910438" cy="4486100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rgbClr val="7F7F7F"/>
                </a:solidFill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640487" y="2283334"/>
            <a:ext cx="6646002" cy="44861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33953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1434"/>
            <a:ext cx="9837778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altLang="zh-CN" dirty="0" smtClean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35303" y="2283335"/>
            <a:ext cx="3733604" cy="158075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 marL="521437" indent="0">
              <a:buNone/>
              <a:defRPr sz="1700"/>
            </a:lvl2pPr>
            <a:lvl3pPr marL="1042873" indent="0">
              <a:buNone/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651951" y="2283334"/>
            <a:ext cx="6634538" cy="4486100"/>
          </a:xfrm>
        </p:spPr>
        <p:txBody>
          <a:bodyPr>
            <a:normAutofit/>
          </a:bodyPr>
          <a:lstStyle>
            <a:lvl1pPr marL="0" indent="0" algn="ctr">
              <a:buNone/>
              <a:defRPr sz="6800">
                <a:solidFill>
                  <a:srgbClr val="7F7F7F"/>
                </a:solidFill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295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74134"/>
            <a:ext cx="9837778" cy="1503826"/>
          </a:xfrm>
        </p:spPr>
        <p:txBody>
          <a:bodyPr/>
          <a:lstStyle>
            <a:lvl1pPr marL="292100" indent="0"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48712" y="2204466"/>
            <a:ext cx="4806536" cy="44861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3391" y="2204466"/>
            <a:ext cx="4853098" cy="44861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55115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9901"/>
            <a:ext cx="9837778" cy="150876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95196" y="1848493"/>
            <a:ext cx="4561907" cy="705515"/>
          </a:xfrm>
        </p:spPr>
        <p:txBody>
          <a:bodyPr anchor="b">
            <a:normAutofit/>
          </a:bodyPr>
          <a:lstStyle>
            <a:lvl1pPr marL="0" indent="0">
              <a:buNone/>
              <a:defRPr sz="2300" b="0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95196" y="2605876"/>
            <a:ext cx="4561907" cy="4357393"/>
          </a:xfrm>
        </p:spPr>
        <p:txBody>
          <a:bodyPr/>
          <a:lstStyle>
            <a:lvl1pPr>
              <a:defRPr sz="2300" b="0"/>
            </a:lvl1pPr>
            <a:lvl2pPr>
              <a:defRPr sz="21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29679" y="1848493"/>
            <a:ext cx="4856809" cy="705515"/>
          </a:xfrm>
        </p:spPr>
        <p:txBody>
          <a:bodyPr anchor="b">
            <a:normAutofit/>
          </a:bodyPr>
          <a:lstStyle>
            <a:lvl1pPr marL="0" indent="0">
              <a:buNone/>
              <a:defRPr sz="2300" b="0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29679" y="2605876"/>
            <a:ext cx="4856809" cy="4357393"/>
          </a:xfrm>
        </p:spPr>
        <p:txBody>
          <a:bodyPr/>
          <a:lstStyle>
            <a:lvl1pPr>
              <a:defRPr sz="2300" b="0"/>
            </a:lvl1pPr>
            <a:lvl2pPr>
              <a:defRPr sz="21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37837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1434"/>
            <a:ext cx="9837778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2990707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0244" y="465667"/>
            <a:ext cx="9838944" cy="1508760"/>
          </a:xfrm>
        </p:spPr>
        <p:txBody>
          <a:bodyPr/>
          <a:lstStyle>
            <a:lvl1pPr marL="292100" indent="0">
              <a:lnSpc>
                <a:spcPct val="100000"/>
              </a:lnSpc>
              <a:defRPr sz="2800"/>
            </a:lvl1pPr>
          </a:lstStyle>
          <a:p>
            <a:r>
              <a:rPr lang="ru-RU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47675" y="2260600"/>
            <a:ext cx="9831513" cy="4484688"/>
          </a:xfrm>
        </p:spPr>
        <p:txBody>
          <a:bodyPr/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564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азвание 1"/>
          <p:cNvSpPr>
            <a:spLocks noGrp="1"/>
          </p:cNvSpPr>
          <p:nvPr>
            <p:ph type="title"/>
          </p:nvPr>
        </p:nvSpPr>
        <p:spPr>
          <a:xfrm>
            <a:off x="452943" y="474140"/>
            <a:ext cx="9833546" cy="1508760"/>
          </a:xfrm>
        </p:spPr>
        <p:txBody>
          <a:bodyPr/>
          <a:lstStyle>
            <a:lvl1pPr marL="292100" indent="-11113">
              <a:defRPr/>
            </a:lvl1pPr>
          </a:lstStyle>
          <a:p>
            <a:r>
              <a:rPr lang="ru-RU" smtClean="0"/>
              <a:t>Click to edit Master title style</a:t>
            </a:r>
            <a:endParaRPr lang="ru-RU" dirty="0"/>
          </a:p>
        </p:txBody>
      </p:sp>
      <p:sp>
        <p:nvSpPr>
          <p:cNvPr id="12" name="Содержимое 2"/>
          <p:cNvSpPr>
            <a:spLocks noGrp="1"/>
          </p:cNvSpPr>
          <p:nvPr>
            <p:ph sz="half" idx="1"/>
          </p:nvPr>
        </p:nvSpPr>
        <p:spPr>
          <a:xfrm>
            <a:off x="753817" y="2235200"/>
            <a:ext cx="2275133" cy="45593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500"/>
            </a:lvl1pPr>
            <a:lvl2pPr marL="521437" indent="0">
              <a:buNone/>
              <a:defRPr sz="2700"/>
            </a:lvl2pPr>
            <a:lvl3pPr marL="1042873" indent="0">
              <a:buNone/>
              <a:defRPr sz="2300"/>
            </a:lvl3pPr>
            <a:lvl4pPr marL="1564310" indent="0">
              <a:buNone/>
              <a:defRPr sz="2100"/>
            </a:lvl4pPr>
            <a:lvl5pPr marL="2085746" indent="0">
              <a:buNone/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Содержимое 3"/>
          <p:cNvSpPr>
            <a:spLocks noGrp="1"/>
          </p:cNvSpPr>
          <p:nvPr>
            <p:ph sz="half" idx="2"/>
          </p:nvPr>
        </p:nvSpPr>
        <p:spPr>
          <a:xfrm>
            <a:off x="3636410" y="2235200"/>
            <a:ext cx="6650079" cy="4559300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sz="1300" spc="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32200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0244" y="465667"/>
            <a:ext cx="9838944" cy="1508760"/>
          </a:xfrm>
        </p:spPr>
        <p:txBody>
          <a:bodyPr/>
          <a:lstStyle>
            <a:lvl1pPr marL="292100" indent="-11113">
              <a:lnSpc>
                <a:spcPct val="100000"/>
              </a:lnSpc>
              <a:defRPr sz="2800"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5707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7521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азделительный слайд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 userDrawn="1"/>
        </p:nvSpPr>
        <p:spPr>
          <a:xfrm>
            <a:off x="449263" y="439738"/>
            <a:ext cx="9837737" cy="6669087"/>
          </a:xfrm>
          <a:custGeom>
            <a:avLst/>
            <a:gdLst>
              <a:gd name="connsiteX0" fmla="*/ 9758223 w 9758223"/>
              <a:gd name="connsiteY0" fmla="*/ 6626035 h 6626035"/>
              <a:gd name="connsiteX1" fmla="*/ 0 w 9758223"/>
              <a:gd name="connsiteY1" fmla="*/ 6626035 h 6626035"/>
              <a:gd name="connsiteX2" fmla="*/ 0 w 9758223"/>
              <a:gd name="connsiteY2" fmla="*/ 0 h 6626035"/>
              <a:gd name="connsiteX3" fmla="*/ 9758223 w 9758223"/>
              <a:gd name="connsiteY3" fmla="*/ 0 h 6626035"/>
              <a:gd name="connsiteX4" fmla="*/ 9758223 w 9758223"/>
              <a:gd name="connsiteY4" fmla="*/ 6626035 h 662603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626035">
                <a:moveTo>
                  <a:pt x="9758223" y="6626035"/>
                </a:moveTo>
                <a:lnTo>
                  <a:pt x="0" y="6626035"/>
                </a:lnTo>
                <a:lnTo>
                  <a:pt x="0" y="0"/>
                </a:lnTo>
                <a:lnTo>
                  <a:pt x="9758223" y="0"/>
                </a:lnTo>
                <a:lnTo>
                  <a:pt x="9758223" y="6626035"/>
                </a:lnTo>
              </a:path>
            </a:pathLst>
          </a:custGeom>
          <a:solidFill>
            <a:srgbClr val="FF585D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781175" y="2408238"/>
            <a:ext cx="4806950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6500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разделительный</a:t>
            </a:r>
          </a:p>
          <a:p>
            <a:pPr eaLnBrk="1" hangingPunct="1">
              <a:lnSpc>
                <a:spcPts val="5813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слайд</a:t>
            </a: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0"/>
          </p:nvPr>
        </p:nvSpPr>
        <p:spPr>
          <a:xfrm>
            <a:off x="1781440" y="6461686"/>
            <a:ext cx="4070092" cy="429037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391800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9901"/>
            <a:ext cx="9837778" cy="1508760"/>
          </a:xfrm>
          <a:solidFill>
            <a:srgbClr val="FF585D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75410" y="2335213"/>
            <a:ext cx="9511079" cy="448468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68297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1434"/>
            <a:ext cx="9837778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1826" y="2283334"/>
            <a:ext cx="4573421" cy="44861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3391" y="2283334"/>
            <a:ext cx="4853098" cy="44861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2851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9901"/>
            <a:ext cx="9837778" cy="150876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en-US" altLang="zh-CN" dirty="0" smtClean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08565" y="2283335"/>
            <a:ext cx="4840081" cy="357314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 marL="521437" indent="0">
              <a:buNone/>
              <a:defRPr sz="1700"/>
            </a:lvl2pPr>
            <a:lvl3pPr marL="1042873" indent="0">
              <a:buNone/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651951" y="2283334"/>
            <a:ext cx="6634538" cy="4486100"/>
          </a:xfrm>
        </p:spPr>
        <p:txBody>
          <a:bodyPr>
            <a:normAutofit/>
          </a:bodyPr>
          <a:lstStyle>
            <a:lvl1pPr marL="0" indent="0" algn="ctr">
              <a:buNone/>
              <a:defRPr sz="6800">
                <a:solidFill>
                  <a:srgbClr val="7F7F7F"/>
                </a:solidFill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6218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74134"/>
            <a:ext cx="9837778" cy="150382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62010" y="2204466"/>
            <a:ext cx="2695073" cy="44861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651951" y="2204466"/>
            <a:ext cx="6634538" cy="4486100"/>
          </a:xfrm>
        </p:spPr>
        <p:txBody>
          <a:bodyPr>
            <a:normAutofit/>
          </a:bodyPr>
          <a:lstStyle>
            <a:lvl1pPr marL="391077" marR="0" indent="-391077" algn="l" defTabSz="52143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+mj-lt"/>
              <a:buAutoNum type="arabicPeriod"/>
              <a:tabLst/>
              <a:defRPr sz="1300">
                <a:solidFill>
                  <a:schemeClr val="tx1"/>
                </a:solidFill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  <a:endParaRPr lang="en-US" dirty="0" smtClean="0"/>
          </a:p>
          <a:p>
            <a:pPr lvl="0"/>
            <a:r>
              <a:rPr lang="ru-RU" dirty="0" smtClean="0"/>
              <a:t>Образец текста</a:t>
            </a:r>
            <a:endParaRPr lang="en-US" dirty="0" smtClean="0"/>
          </a:p>
          <a:p>
            <a:pPr lvl="0"/>
            <a:r>
              <a:rPr lang="ru-RU" dirty="0" smtClean="0"/>
              <a:t>Образец текста</a:t>
            </a:r>
            <a:endParaRPr lang="en-US" dirty="0" smtClean="0"/>
          </a:p>
          <a:p>
            <a:pPr lvl="0"/>
            <a:r>
              <a:rPr lang="ru-RU" dirty="0" smtClean="0"/>
              <a:t>Образец текста</a:t>
            </a:r>
            <a:endParaRPr lang="en-US" dirty="0" smtClean="0"/>
          </a:p>
          <a:p>
            <a:pPr lvl="0"/>
            <a:r>
              <a:rPr lang="ru-RU" dirty="0" smtClean="0"/>
              <a:t>Образец текста</a:t>
            </a:r>
            <a:endParaRPr lang="en-US" dirty="0" smtClean="0"/>
          </a:p>
          <a:p>
            <a:pPr lvl="0"/>
            <a:r>
              <a:rPr lang="ru-RU" dirty="0" smtClean="0"/>
              <a:t>Образец текста</a:t>
            </a:r>
            <a:endParaRPr lang="en-US" dirty="0" smtClean="0"/>
          </a:p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708031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9901"/>
            <a:ext cx="9837778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altLang="zh-CN" dirty="0" smtClean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48712" y="2283334"/>
            <a:ext cx="2910438" cy="4486100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rgbClr val="7F7F7F"/>
                </a:solidFill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640487" y="2283334"/>
            <a:ext cx="6646002" cy="44861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40876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1434"/>
            <a:ext cx="9837778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altLang="zh-CN" dirty="0" smtClean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35303" y="2283335"/>
            <a:ext cx="3733604" cy="158075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 marL="521437" indent="0">
              <a:buNone/>
              <a:defRPr sz="1700"/>
            </a:lvl2pPr>
            <a:lvl3pPr marL="1042873" indent="0">
              <a:buNone/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651951" y="2283334"/>
            <a:ext cx="6634538" cy="4486100"/>
          </a:xfrm>
        </p:spPr>
        <p:txBody>
          <a:bodyPr>
            <a:normAutofit/>
          </a:bodyPr>
          <a:lstStyle>
            <a:lvl1pPr marL="0" indent="0" algn="ctr">
              <a:buNone/>
              <a:defRPr sz="6800">
                <a:solidFill>
                  <a:srgbClr val="7F7F7F"/>
                </a:solidFill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70851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9901"/>
            <a:ext cx="9837778" cy="150876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95196" y="1848493"/>
            <a:ext cx="4561907" cy="705515"/>
          </a:xfrm>
        </p:spPr>
        <p:txBody>
          <a:bodyPr anchor="b">
            <a:normAutofit/>
          </a:bodyPr>
          <a:lstStyle>
            <a:lvl1pPr marL="0" indent="0">
              <a:buNone/>
              <a:defRPr sz="2300" b="0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95196" y="2605876"/>
            <a:ext cx="4561907" cy="4357393"/>
          </a:xfrm>
        </p:spPr>
        <p:txBody>
          <a:bodyPr/>
          <a:lstStyle>
            <a:lvl1pPr>
              <a:defRPr sz="2300" b="0"/>
            </a:lvl1pPr>
            <a:lvl2pPr>
              <a:defRPr sz="21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29679" y="1848493"/>
            <a:ext cx="4856809" cy="705515"/>
          </a:xfrm>
        </p:spPr>
        <p:txBody>
          <a:bodyPr anchor="b">
            <a:normAutofit/>
          </a:bodyPr>
          <a:lstStyle>
            <a:lvl1pPr marL="0" indent="0">
              <a:buNone/>
              <a:defRPr sz="2300" b="0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29679" y="2605876"/>
            <a:ext cx="4856809" cy="4357393"/>
          </a:xfrm>
        </p:spPr>
        <p:txBody>
          <a:bodyPr/>
          <a:lstStyle>
            <a:lvl1pPr>
              <a:defRPr sz="2300" b="0"/>
            </a:lvl1pPr>
            <a:lvl2pPr>
              <a:defRPr sz="21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75520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11" y="461434"/>
            <a:ext cx="9837778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8191425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7"/>
          <p:cNvSpPr>
            <a:spLocks noChangeArrowheads="1"/>
          </p:cNvSpPr>
          <p:nvPr userDrawn="1"/>
        </p:nvSpPr>
        <p:spPr bwMode="auto">
          <a:xfrm>
            <a:off x="0" y="0"/>
            <a:ext cx="10688638" cy="75628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4" name="Freeform 7"/>
          <p:cNvSpPr/>
          <p:nvPr userDrawn="1"/>
        </p:nvSpPr>
        <p:spPr>
          <a:xfrm>
            <a:off x="439738" y="804863"/>
            <a:ext cx="9837737" cy="6300787"/>
          </a:xfrm>
          <a:custGeom>
            <a:avLst/>
            <a:gdLst>
              <a:gd name="connsiteX0" fmla="*/ 9758223 w 9758223"/>
              <a:gd name="connsiteY0" fmla="*/ 6280264 h 6280264"/>
              <a:gd name="connsiteX1" fmla="*/ 0 w 9758223"/>
              <a:gd name="connsiteY1" fmla="*/ 6280264 h 6280264"/>
              <a:gd name="connsiteX2" fmla="*/ 0 w 9758223"/>
              <a:gd name="connsiteY2" fmla="*/ 0 h 6280264"/>
              <a:gd name="connsiteX3" fmla="*/ 9758223 w 9758223"/>
              <a:gd name="connsiteY3" fmla="*/ 0 h 6280264"/>
              <a:gd name="connsiteX4" fmla="*/ 9758223 w 9758223"/>
              <a:gd name="connsiteY4" fmla="*/ 6280264 h 628026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280264">
                <a:moveTo>
                  <a:pt x="9758223" y="6280264"/>
                </a:moveTo>
                <a:lnTo>
                  <a:pt x="0" y="6280264"/>
                </a:lnTo>
                <a:lnTo>
                  <a:pt x="0" y="0"/>
                </a:lnTo>
                <a:lnTo>
                  <a:pt x="9758223" y="0"/>
                </a:lnTo>
                <a:lnTo>
                  <a:pt x="9758223" y="6280264"/>
                </a:lnTo>
              </a:path>
            </a:pathLst>
          </a:custGeom>
          <a:solidFill>
            <a:srgbClr val="FF585D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pic>
        <p:nvPicPr>
          <p:cNvPr id="5" name="Picture 28" descr="oschad-01.jp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638" y="396875"/>
            <a:ext cx="1617662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1471613" y="6650038"/>
            <a:ext cx="1352934" cy="184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Київ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, </a:t>
            </a: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березень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 2015 року</a:t>
            </a:r>
          </a:p>
        </p:txBody>
      </p:sp>
      <p:sp>
        <p:nvSpPr>
          <p:cNvPr id="7" name="TextBox 1"/>
          <p:cNvSpPr txBox="1">
            <a:spLocks noChangeArrowheads="1"/>
          </p:cNvSpPr>
          <p:nvPr userDrawn="1"/>
        </p:nvSpPr>
        <p:spPr bwMode="auto">
          <a:xfrm>
            <a:off x="3030538" y="6650038"/>
            <a:ext cx="1588576" cy="184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Стратегія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розвитку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Ощадбанк</a:t>
            </a:r>
            <a:endParaRPr kumimoji="0" lang="ru-RU" altLang="zh-CN" sz="900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0"/>
          </p:nvPr>
        </p:nvSpPr>
        <p:spPr>
          <a:xfrm>
            <a:off x="1310680" y="2259398"/>
            <a:ext cx="7926416" cy="3709602"/>
          </a:xfrm>
        </p:spPr>
        <p:txBody>
          <a:bodyPr>
            <a:noAutofit/>
          </a:bodyPr>
          <a:lstStyle>
            <a:lvl1pPr marL="0" indent="0">
              <a:buNone/>
              <a:defRPr sz="4600" baseline="0">
                <a:solidFill>
                  <a:srgbClr val="FFFFFF"/>
                </a:solidFill>
              </a:defRPr>
            </a:lvl1pPr>
            <a:lvl2pPr>
              <a:defRPr sz="5500">
                <a:solidFill>
                  <a:srgbClr val="FFFFFF"/>
                </a:solidFill>
              </a:defRPr>
            </a:lvl2pPr>
            <a:lvl3pPr>
              <a:defRPr sz="5500">
                <a:solidFill>
                  <a:srgbClr val="FFFFFF"/>
                </a:solidFill>
              </a:defRPr>
            </a:lvl3pPr>
            <a:lvl4pPr>
              <a:defRPr sz="5500">
                <a:solidFill>
                  <a:srgbClr val="FFFFFF"/>
                </a:solidFill>
              </a:defRPr>
            </a:lvl4pPr>
            <a:lvl5pPr>
              <a:defRPr sz="5500">
                <a:solidFill>
                  <a:srgbClr val="FFFFFF"/>
                </a:solidFill>
              </a:defRPr>
            </a:lvl5pPr>
          </a:lstStyle>
          <a:p>
            <a:r>
              <a:rPr lang="ru-RU" altLang="zh-CN" dirty="0" smtClean="0"/>
              <a:t>Образец текст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28000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7"/>
          <p:cNvSpPr>
            <a:spLocks noChangeArrowheads="1"/>
          </p:cNvSpPr>
          <p:nvPr userDrawn="1"/>
        </p:nvSpPr>
        <p:spPr bwMode="auto">
          <a:xfrm>
            <a:off x="0" y="0"/>
            <a:ext cx="10688638" cy="75628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4" name="Freeform 7"/>
          <p:cNvSpPr/>
          <p:nvPr userDrawn="1"/>
        </p:nvSpPr>
        <p:spPr>
          <a:xfrm>
            <a:off x="439738" y="804863"/>
            <a:ext cx="9837737" cy="6300787"/>
          </a:xfrm>
          <a:custGeom>
            <a:avLst/>
            <a:gdLst>
              <a:gd name="connsiteX0" fmla="*/ 9758223 w 9758223"/>
              <a:gd name="connsiteY0" fmla="*/ 6280264 h 6280264"/>
              <a:gd name="connsiteX1" fmla="*/ 0 w 9758223"/>
              <a:gd name="connsiteY1" fmla="*/ 6280264 h 6280264"/>
              <a:gd name="connsiteX2" fmla="*/ 0 w 9758223"/>
              <a:gd name="connsiteY2" fmla="*/ 0 h 6280264"/>
              <a:gd name="connsiteX3" fmla="*/ 9758223 w 9758223"/>
              <a:gd name="connsiteY3" fmla="*/ 0 h 6280264"/>
              <a:gd name="connsiteX4" fmla="*/ 9758223 w 9758223"/>
              <a:gd name="connsiteY4" fmla="*/ 6280264 h 628026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280264">
                <a:moveTo>
                  <a:pt x="9758223" y="6280264"/>
                </a:moveTo>
                <a:lnTo>
                  <a:pt x="0" y="6280264"/>
                </a:lnTo>
                <a:lnTo>
                  <a:pt x="0" y="0"/>
                </a:lnTo>
                <a:lnTo>
                  <a:pt x="9758223" y="0"/>
                </a:lnTo>
                <a:lnTo>
                  <a:pt x="9758223" y="6280264"/>
                </a:lnTo>
              </a:path>
            </a:pathLst>
          </a:custGeom>
          <a:solidFill>
            <a:srgbClr val="FF585D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pic>
        <p:nvPicPr>
          <p:cNvPr id="5" name="Picture 28" descr="oschad-01.jp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638" y="396875"/>
            <a:ext cx="1617662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1471613" y="6650038"/>
            <a:ext cx="649217" cy="184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Презентація</a:t>
            </a:r>
            <a:endParaRPr kumimoji="0" lang="ru-RU" altLang="zh-CN" sz="900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7" name="TextBox 1"/>
          <p:cNvSpPr txBox="1">
            <a:spLocks noChangeArrowheads="1"/>
          </p:cNvSpPr>
          <p:nvPr userDrawn="1"/>
        </p:nvSpPr>
        <p:spPr bwMode="auto">
          <a:xfrm>
            <a:off x="3030538" y="6650038"/>
            <a:ext cx="1352934" cy="184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Київ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, </a:t>
            </a: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березень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 2015 року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0"/>
          </p:nvPr>
        </p:nvSpPr>
        <p:spPr>
          <a:xfrm>
            <a:off x="1310680" y="2259398"/>
            <a:ext cx="7926416" cy="3709602"/>
          </a:xfrm>
        </p:spPr>
        <p:txBody>
          <a:bodyPr>
            <a:noAutofit/>
          </a:bodyPr>
          <a:lstStyle>
            <a:lvl1pPr marL="0" indent="0">
              <a:buNone/>
              <a:defRPr sz="4600" baseline="0">
                <a:solidFill>
                  <a:srgbClr val="FFFFFF"/>
                </a:solidFill>
              </a:defRPr>
            </a:lvl1pPr>
            <a:lvl2pPr>
              <a:defRPr sz="5500">
                <a:solidFill>
                  <a:srgbClr val="FFFFFF"/>
                </a:solidFill>
              </a:defRPr>
            </a:lvl2pPr>
            <a:lvl3pPr>
              <a:defRPr sz="5500">
                <a:solidFill>
                  <a:srgbClr val="FFFFFF"/>
                </a:solidFill>
              </a:defRPr>
            </a:lvl3pPr>
            <a:lvl4pPr>
              <a:defRPr sz="5500">
                <a:solidFill>
                  <a:srgbClr val="FFFFFF"/>
                </a:solidFill>
              </a:defRPr>
            </a:lvl4pPr>
            <a:lvl5pPr>
              <a:defRPr sz="5500">
                <a:solidFill>
                  <a:srgbClr val="FFFFFF"/>
                </a:solidFill>
              </a:defRPr>
            </a:lvl5pPr>
          </a:lstStyle>
          <a:p>
            <a:r>
              <a:rPr lang="ru-RU" altLang="zh-CN" dirty="0" smtClean="0"/>
              <a:t>Образец текст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650100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Название 1"/>
          <p:cNvSpPr>
            <a:spLocks noGrp="1"/>
          </p:cNvSpPr>
          <p:nvPr>
            <p:ph type="title"/>
          </p:nvPr>
        </p:nvSpPr>
        <p:spPr>
          <a:xfrm>
            <a:off x="448711" y="474134"/>
            <a:ext cx="9837778" cy="1503826"/>
          </a:xfrm>
          <a:solidFill>
            <a:srgbClr val="FF585D"/>
          </a:solidFill>
        </p:spPr>
        <p:txBody>
          <a:bodyPr/>
          <a:lstStyle/>
          <a:p>
            <a:r>
              <a:rPr lang="uk-UA" smtClean="0"/>
              <a:t>Click to edit Master title style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13"/>
          </p:nvPr>
        </p:nvSpPr>
        <p:spPr>
          <a:xfrm>
            <a:off x="448710" y="4338318"/>
            <a:ext cx="3287248" cy="2520204"/>
          </a:xfrm>
          <a:solidFill>
            <a:srgbClr val="6BBBAE"/>
          </a:solidFill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1pPr>
            <a:lvl2pPr marL="521437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2pPr>
            <a:lvl3pPr marL="1042873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3pPr>
            <a:lvl4pPr marL="156431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4pPr>
            <a:lvl5pPr marL="2085746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14"/>
          </p:nvPr>
        </p:nvSpPr>
        <p:spPr>
          <a:xfrm>
            <a:off x="3735958" y="4338320"/>
            <a:ext cx="3229024" cy="2520204"/>
          </a:xfrm>
          <a:solidFill>
            <a:srgbClr val="FDAA63"/>
          </a:solidFill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1pPr>
            <a:lvl2pPr marL="521437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2pPr>
            <a:lvl3pPr marL="1042873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3pPr>
            <a:lvl4pPr marL="156431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4pPr>
            <a:lvl5pPr marL="2085746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15"/>
          </p:nvPr>
        </p:nvSpPr>
        <p:spPr>
          <a:xfrm>
            <a:off x="6964982" y="4338318"/>
            <a:ext cx="3321506" cy="2520204"/>
          </a:xfrm>
          <a:solidFill>
            <a:srgbClr val="FF585D"/>
          </a:solidFill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1pPr>
            <a:lvl2pPr marL="521437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2pPr>
            <a:lvl3pPr marL="1042873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3pPr>
            <a:lvl4pPr marL="156431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4pPr>
            <a:lvl5pPr marL="2085746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788780" y="2055516"/>
            <a:ext cx="9497708" cy="493328"/>
          </a:xfrm>
        </p:spPr>
        <p:txBody>
          <a:bodyPr/>
          <a:lstStyle>
            <a:lvl1pPr marL="0" indent="0">
              <a:buNone/>
              <a:defRPr sz="1500" b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41321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 userDrawn="1"/>
        </p:nvSpPr>
        <p:spPr>
          <a:xfrm>
            <a:off x="449263" y="439738"/>
            <a:ext cx="9837737" cy="6669087"/>
          </a:xfrm>
          <a:custGeom>
            <a:avLst/>
            <a:gdLst>
              <a:gd name="connsiteX0" fmla="*/ 9758223 w 9758223"/>
              <a:gd name="connsiteY0" fmla="*/ 6626035 h 6626035"/>
              <a:gd name="connsiteX1" fmla="*/ 0 w 9758223"/>
              <a:gd name="connsiteY1" fmla="*/ 6626035 h 6626035"/>
              <a:gd name="connsiteX2" fmla="*/ 0 w 9758223"/>
              <a:gd name="connsiteY2" fmla="*/ 0 h 6626035"/>
              <a:gd name="connsiteX3" fmla="*/ 9758223 w 9758223"/>
              <a:gd name="connsiteY3" fmla="*/ 0 h 6626035"/>
              <a:gd name="connsiteX4" fmla="*/ 9758223 w 9758223"/>
              <a:gd name="connsiteY4" fmla="*/ 6626035 h 662603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626035">
                <a:moveTo>
                  <a:pt x="9758223" y="6626035"/>
                </a:moveTo>
                <a:lnTo>
                  <a:pt x="0" y="6626035"/>
                </a:lnTo>
                <a:lnTo>
                  <a:pt x="0" y="0"/>
                </a:lnTo>
                <a:lnTo>
                  <a:pt x="9758223" y="0"/>
                </a:lnTo>
                <a:lnTo>
                  <a:pt x="9758223" y="6626035"/>
                </a:lnTo>
              </a:path>
            </a:pathLst>
          </a:custGeom>
          <a:solidFill>
            <a:srgbClr val="92C1E9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781175" y="2408238"/>
            <a:ext cx="4806950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6500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разделительный</a:t>
            </a:r>
          </a:p>
          <a:p>
            <a:pPr eaLnBrk="1" hangingPunct="1">
              <a:lnSpc>
                <a:spcPts val="5813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слайд</a:t>
            </a:r>
          </a:p>
        </p:txBody>
      </p:sp>
      <p:sp>
        <p:nvSpPr>
          <p:cNvPr id="7" name="Текст 9"/>
          <p:cNvSpPr>
            <a:spLocks noGrp="1"/>
          </p:cNvSpPr>
          <p:nvPr>
            <p:ph type="body" sz="quarter" idx="10"/>
          </p:nvPr>
        </p:nvSpPr>
        <p:spPr>
          <a:xfrm>
            <a:off x="1781440" y="6461686"/>
            <a:ext cx="4070092" cy="429037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65205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5" y="465665"/>
            <a:ext cx="9837779" cy="1508760"/>
          </a:xfrm>
          <a:solidFill>
            <a:srgbClr val="92C1E9"/>
          </a:solidFill>
        </p:spPr>
        <p:txBody>
          <a:bodyPr/>
          <a:lstStyle>
            <a:lvl1pPr marL="292100" indent="-4763"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508250"/>
            <a:ext cx="9829800" cy="448627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61044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09" y="478367"/>
            <a:ext cx="9837779" cy="1508760"/>
          </a:xfrm>
          <a:solidFill>
            <a:srgbClr val="92C1E9"/>
          </a:solidFill>
        </p:spPr>
        <p:txBody>
          <a:bodyPr/>
          <a:lstStyle>
            <a:lvl1pPr marL="292100" indent="-4763"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762042" y="2379027"/>
            <a:ext cx="9524445" cy="1615279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Содержимое 2"/>
          <p:cNvSpPr>
            <a:spLocks noGrp="1"/>
          </p:cNvSpPr>
          <p:nvPr>
            <p:ph idx="13"/>
          </p:nvPr>
        </p:nvSpPr>
        <p:spPr>
          <a:xfrm>
            <a:off x="762042" y="4336538"/>
            <a:ext cx="9524445" cy="1615279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92952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Название 1"/>
          <p:cNvSpPr>
            <a:spLocks noGrp="1"/>
          </p:cNvSpPr>
          <p:nvPr>
            <p:ph type="title"/>
          </p:nvPr>
        </p:nvSpPr>
        <p:spPr>
          <a:xfrm>
            <a:off x="448711" y="474134"/>
            <a:ext cx="9837778" cy="1503826"/>
          </a:xfrm>
          <a:solidFill>
            <a:srgbClr val="6BBBAB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13"/>
          </p:nvPr>
        </p:nvSpPr>
        <p:spPr>
          <a:xfrm>
            <a:off x="448710" y="4338318"/>
            <a:ext cx="3287248" cy="2520204"/>
          </a:xfrm>
          <a:solidFill>
            <a:srgbClr val="6BBBAE"/>
          </a:solidFill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1pPr>
            <a:lvl2pPr marL="521437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2pPr>
            <a:lvl3pPr marL="1042873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3pPr>
            <a:lvl4pPr marL="156431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4pPr>
            <a:lvl5pPr marL="2085746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14"/>
          </p:nvPr>
        </p:nvSpPr>
        <p:spPr>
          <a:xfrm>
            <a:off x="3735958" y="4338320"/>
            <a:ext cx="3229024" cy="2520204"/>
          </a:xfrm>
          <a:solidFill>
            <a:srgbClr val="FDAA63"/>
          </a:solidFill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1pPr>
            <a:lvl2pPr marL="521437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2pPr>
            <a:lvl3pPr marL="1042873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3pPr>
            <a:lvl4pPr marL="156431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4pPr>
            <a:lvl5pPr marL="2085746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33" name="Текст 6"/>
          <p:cNvSpPr>
            <a:spLocks noGrp="1"/>
          </p:cNvSpPr>
          <p:nvPr>
            <p:ph type="body" sz="quarter" idx="15"/>
          </p:nvPr>
        </p:nvSpPr>
        <p:spPr>
          <a:xfrm>
            <a:off x="6964982" y="4338318"/>
            <a:ext cx="3321506" cy="2520204"/>
          </a:xfrm>
          <a:solidFill>
            <a:srgbClr val="FF585D"/>
          </a:solidFill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1pPr>
            <a:lvl2pPr marL="521437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2pPr>
            <a:lvl3pPr marL="1042873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3pPr>
            <a:lvl4pPr marL="156431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4pPr>
            <a:lvl5pPr marL="2085746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6"/>
          </p:nvPr>
        </p:nvSpPr>
        <p:spPr>
          <a:xfrm>
            <a:off x="788780" y="2055516"/>
            <a:ext cx="9497708" cy="493328"/>
          </a:xfrm>
        </p:spPr>
        <p:txBody>
          <a:bodyPr/>
          <a:lstStyle>
            <a:lvl1pPr marL="0" indent="0">
              <a:buNone/>
              <a:defRPr sz="1500" b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186641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2943" y="474140"/>
            <a:ext cx="9833546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53817" y="2235200"/>
            <a:ext cx="2275133" cy="45593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500"/>
            </a:lvl1pPr>
            <a:lvl2pPr marL="521437" indent="0">
              <a:buNone/>
              <a:defRPr sz="2700"/>
            </a:lvl2pPr>
            <a:lvl3pPr marL="1042873" indent="0">
              <a:buNone/>
              <a:defRPr sz="2300"/>
            </a:lvl3pPr>
            <a:lvl4pPr marL="1564310" indent="0">
              <a:buNone/>
              <a:defRPr sz="2100"/>
            </a:lvl4pPr>
            <a:lvl5pPr marL="2085746" indent="0">
              <a:buNone/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530600" y="2235200"/>
            <a:ext cx="6755889" cy="4559300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sz="1300" spc="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36515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6" y="478368"/>
            <a:ext cx="9837778" cy="1508760"/>
          </a:xfrm>
          <a:solidFill>
            <a:srgbClr val="92C1E9"/>
          </a:solidFill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51293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5" y="478367"/>
            <a:ext cx="9837779" cy="1508760"/>
          </a:xfrm>
          <a:solidFill>
            <a:srgbClr val="92C1E9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9850438" y="7083425"/>
            <a:ext cx="83820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kumimoji="1" sz="4600" kern="1200" baseline="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1pPr>
            <a:lvl2pPr marL="520700" indent="-63500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2pPr>
            <a:lvl3pPr marL="1042988" indent="-128588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3pPr>
            <a:lvl4pPr marL="1563688" indent="-192088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4pPr>
            <a:lvl5pPr marL="2085975" indent="-257175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3400EF4-D14B-4B3E-8643-5A6D23594193}" type="slidenum">
              <a:rPr lang="uk-UA" sz="1400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 algn="r"/>
              <a:t>‹#›</a:t>
            </a:fld>
            <a:endParaRPr lang="uk-UA" sz="1400" dirty="0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03995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7573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i="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660190" y="7009643"/>
            <a:ext cx="2494016" cy="402652"/>
          </a:xfrm>
          <a:prstGeom prst="rect">
            <a:avLst/>
          </a:prstGeom>
        </p:spPr>
        <p:txBody>
          <a:bodyPr lIns="99551" tIns="49775" rIns="99551" bIns="49775"/>
          <a:lstStyle/>
          <a:p>
            <a:fld id="{D2D60487-EF63-4C74-8902-B9A9FB25E80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592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7"/>
          <p:cNvSpPr>
            <a:spLocks noChangeArrowheads="1"/>
          </p:cNvSpPr>
          <p:nvPr userDrawn="1"/>
        </p:nvSpPr>
        <p:spPr bwMode="auto">
          <a:xfrm>
            <a:off x="0" y="0"/>
            <a:ext cx="10688638" cy="75628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Freeform 7"/>
          <p:cNvSpPr/>
          <p:nvPr userDrawn="1"/>
        </p:nvSpPr>
        <p:spPr>
          <a:xfrm>
            <a:off x="439738" y="804863"/>
            <a:ext cx="9837737" cy="6300787"/>
          </a:xfrm>
          <a:custGeom>
            <a:avLst/>
            <a:gdLst>
              <a:gd name="connsiteX0" fmla="*/ 9758223 w 9758223"/>
              <a:gd name="connsiteY0" fmla="*/ 6280264 h 6280264"/>
              <a:gd name="connsiteX1" fmla="*/ 0 w 9758223"/>
              <a:gd name="connsiteY1" fmla="*/ 6280264 h 6280264"/>
              <a:gd name="connsiteX2" fmla="*/ 0 w 9758223"/>
              <a:gd name="connsiteY2" fmla="*/ 0 h 6280264"/>
              <a:gd name="connsiteX3" fmla="*/ 9758223 w 9758223"/>
              <a:gd name="connsiteY3" fmla="*/ 0 h 6280264"/>
              <a:gd name="connsiteX4" fmla="*/ 9758223 w 9758223"/>
              <a:gd name="connsiteY4" fmla="*/ 6280264 h 628026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280264">
                <a:moveTo>
                  <a:pt x="9758223" y="6280264"/>
                </a:moveTo>
                <a:lnTo>
                  <a:pt x="0" y="6280264"/>
                </a:lnTo>
                <a:lnTo>
                  <a:pt x="0" y="0"/>
                </a:lnTo>
                <a:lnTo>
                  <a:pt x="9758223" y="0"/>
                </a:lnTo>
                <a:lnTo>
                  <a:pt x="9758223" y="6280264"/>
                </a:lnTo>
              </a:path>
            </a:pathLst>
          </a:custGeom>
          <a:solidFill>
            <a:srgbClr val="FF585D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pic>
        <p:nvPicPr>
          <p:cNvPr id="5" name="Picture 28" descr="oschad-01.jp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638" y="396875"/>
            <a:ext cx="1617662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1471613" y="6650038"/>
            <a:ext cx="649217" cy="184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Презентація</a:t>
            </a:r>
            <a:endParaRPr kumimoji="0" lang="ru-RU" altLang="zh-CN" sz="900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7" name="TextBox 1"/>
          <p:cNvSpPr txBox="1">
            <a:spLocks noChangeArrowheads="1"/>
          </p:cNvSpPr>
          <p:nvPr userDrawn="1"/>
        </p:nvSpPr>
        <p:spPr bwMode="auto">
          <a:xfrm>
            <a:off x="3030538" y="6650038"/>
            <a:ext cx="1352934" cy="193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Київ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, </a:t>
            </a: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вересень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 2015 року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0"/>
          </p:nvPr>
        </p:nvSpPr>
        <p:spPr>
          <a:xfrm>
            <a:off x="1310680" y="2259398"/>
            <a:ext cx="7926416" cy="3709602"/>
          </a:xfrm>
        </p:spPr>
        <p:txBody>
          <a:bodyPr>
            <a:noAutofit/>
          </a:bodyPr>
          <a:lstStyle>
            <a:lvl1pPr marL="0" indent="0">
              <a:buNone/>
              <a:defRPr sz="4600" baseline="0">
                <a:solidFill>
                  <a:srgbClr val="FFFFFF"/>
                </a:solidFill>
              </a:defRPr>
            </a:lvl1pPr>
            <a:lvl2pPr>
              <a:defRPr sz="5500">
                <a:solidFill>
                  <a:srgbClr val="FFFFFF"/>
                </a:solidFill>
              </a:defRPr>
            </a:lvl2pPr>
            <a:lvl3pPr>
              <a:defRPr sz="5500">
                <a:solidFill>
                  <a:srgbClr val="FFFFFF"/>
                </a:solidFill>
              </a:defRPr>
            </a:lvl3pPr>
            <a:lvl4pPr>
              <a:defRPr sz="5500">
                <a:solidFill>
                  <a:srgbClr val="FFFFFF"/>
                </a:solidFill>
              </a:defRPr>
            </a:lvl4pPr>
            <a:lvl5pPr>
              <a:defRPr sz="5500">
                <a:solidFill>
                  <a:srgbClr val="FFFFFF"/>
                </a:solidFill>
              </a:defRPr>
            </a:lvl5pPr>
          </a:lstStyle>
          <a:p>
            <a:r>
              <a:rPr lang="ru-RU" altLang="zh-CN" dirty="0" smtClean="0"/>
              <a:t>Образец текст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711325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 userDrawn="1"/>
        </p:nvSpPr>
        <p:spPr>
          <a:xfrm>
            <a:off x="449263" y="439738"/>
            <a:ext cx="9837737" cy="6669087"/>
          </a:xfrm>
          <a:custGeom>
            <a:avLst/>
            <a:gdLst>
              <a:gd name="connsiteX0" fmla="*/ 9758223 w 9758223"/>
              <a:gd name="connsiteY0" fmla="*/ 6626035 h 6626035"/>
              <a:gd name="connsiteX1" fmla="*/ 0 w 9758223"/>
              <a:gd name="connsiteY1" fmla="*/ 6626035 h 6626035"/>
              <a:gd name="connsiteX2" fmla="*/ 0 w 9758223"/>
              <a:gd name="connsiteY2" fmla="*/ 0 h 6626035"/>
              <a:gd name="connsiteX3" fmla="*/ 9758223 w 9758223"/>
              <a:gd name="connsiteY3" fmla="*/ 0 h 6626035"/>
              <a:gd name="connsiteX4" fmla="*/ 9758223 w 9758223"/>
              <a:gd name="connsiteY4" fmla="*/ 6626035 h 662603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626035">
                <a:moveTo>
                  <a:pt x="9758223" y="6626035"/>
                </a:moveTo>
                <a:lnTo>
                  <a:pt x="0" y="6626035"/>
                </a:lnTo>
                <a:lnTo>
                  <a:pt x="0" y="0"/>
                </a:lnTo>
                <a:lnTo>
                  <a:pt x="9758223" y="0"/>
                </a:lnTo>
                <a:lnTo>
                  <a:pt x="9758223" y="6626035"/>
                </a:lnTo>
              </a:path>
            </a:pathLst>
          </a:custGeom>
          <a:solidFill>
            <a:srgbClr val="92C1E9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781175" y="2408238"/>
            <a:ext cx="4806950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6500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разделительный</a:t>
            </a:r>
          </a:p>
          <a:p>
            <a:pPr eaLnBrk="1" hangingPunct="1">
              <a:lnSpc>
                <a:spcPts val="5813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слайд</a:t>
            </a:r>
          </a:p>
        </p:txBody>
      </p:sp>
      <p:sp>
        <p:nvSpPr>
          <p:cNvPr id="7" name="Текст 9"/>
          <p:cNvSpPr>
            <a:spLocks noGrp="1"/>
          </p:cNvSpPr>
          <p:nvPr>
            <p:ph type="body" sz="quarter" idx="10"/>
          </p:nvPr>
        </p:nvSpPr>
        <p:spPr>
          <a:xfrm>
            <a:off x="1781440" y="6461686"/>
            <a:ext cx="4070092" cy="429037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139701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5" y="465665"/>
            <a:ext cx="9837779" cy="1508760"/>
          </a:xfrm>
          <a:solidFill>
            <a:srgbClr val="92C1E9"/>
          </a:solidFill>
        </p:spPr>
        <p:txBody>
          <a:bodyPr/>
          <a:lstStyle>
            <a:lvl1pPr marL="292100" indent="-4763"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508250"/>
            <a:ext cx="9829800" cy="448627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10013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09" y="478367"/>
            <a:ext cx="9837779" cy="1508760"/>
          </a:xfrm>
          <a:solidFill>
            <a:srgbClr val="92C1E9"/>
          </a:solidFill>
        </p:spPr>
        <p:txBody>
          <a:bodyPr/>
          <a:lstStyle>
            <a:lvl1pPr marL="292100" indent="-4763"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762042" y="2379027"/>
            <a:ext cx="9524445" cy="1615279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Содержимое 2"/>
          <p:cNvSpPr>
            <a:spLocks noGrp="1"/>
          </p:cNvSpPr>
          <p:nvPr>
            <p:ph idx="13"/>
          </p:nvPr>
        </p:nvSpPr>
        <p:spPr>
          <a:xfrm>
            <a:off x="762042" y="4336538"/>
            <a:ext cx="9524445" cy="1615279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501692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2943" y="474140"/>
            <a:ext cx="9833546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53817" y="2235200"/>
            <a:ext cx="2275133" cy="45593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500"/>
            </a:lvl1pPr>
            <a:lvl2pPr marL="521437" indent="0">
              <a:buNone/>
              <a:defRPr sz="2700"/>
            </a:lvl2pPr>
            <a:lvl3pPr marL="1042873" indent="0">
              <a:buNone/>
              <a:defRPr sz="2300"/>
            </a:lvl3pPr>
            <a:lvl4pPr marL="1564310" indent="0">
              <a:buNone/>
              <a:defRPr sz="2100"/>
            </a:lvl4pPr>
            <a:lvl5pPr marL="2085746" indent="0">
              <a:buNone/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530600" y="2235200"/>
            <a:ext cx="6755889" cy="4559300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sz="1300" spc="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88681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 userDrawn="1"/>
        </p:nvSpPr>
        <p:spPr>
          <a:xfrm>
            <a:off x="449263" y="439738"/>
            <a:ext cx="9837737" cy="6669087"/>
          </a:xfrm>
          <a:custGeom>
            <a:avLst/>
            <a:gdLst>
              <a:gd name="connsiteX0" fmla="*/ 9758223 w 9758223"/>
              <a:gd name="connsiteY0" fmla="*/ 6626035 h 6626035"/>
              <a:gd name="connsiteX1" fmla="*/ 0 w 9758223"/>
              <a:gd name="connsiteY1" fmla="*/ 6626035 h 6626035"/>
              <a:gd name="connsiteX2" fmla="*/ 0 w 9758223"/>
              <a:gd name="connsiteY2" fmla="*/ 0 h 6626035"/>
              <a:gd name="connsiteX3" fmla="*/ 9758223 w 9758223"/>
              <a:gd name="connsiteY3" fmla="*/ 0 h 6626035"/>
              <a:gd name="connsiteX4" fmla="*/ 9758223 w 9758223"/>
              <a:gd name="connsiteY4" fmla="*/ 6626035 h 662603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626035">
                <a:moveTo>
                  <a:pt x="9758223" y="6626035"/>
                </a:moveTo>
                <a:lnTo>
                  <a:pt x="0" y="6626035"/>
                </a:lnTo>
                <a:lnTo>
                  <a:pt x="0" y="0"/>
                </a:lnTo>
                <a:lnTo>
                  <a:pt x="9758223" y="0"/>
                </a:lnTo>
                <a:lnTo>
                  <a:pt x="9758223" y="6626035"/>
                </a:lnTo>
              </a:path>
            </a:pathLst>
          </a:custGeom>
          <a:solidFill>
            <a:srgbClr val="92C1E9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/>
          </a:p>
        </p:txBody>
      </p: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781175" y="2408238"/>
            <a:ext cx="4806950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6500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разделительный</a:t>
            </a:r>
          </a:p>
          <a:p>
            <a:pPr eaLnBrk="1" hangingPunct="1">
              <a:lnSpc>
                <a:spcPts val="5813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слайд</a:t>
            </a:r>
          </a:p>
        </p:txBody>
      </p:sp>
      <p:sp>
        <p:nvSpPr>
          <p:cNvPr id="7" name="Текст 9"/>
          <p:cNvSpPr>
            <a:spLocks noGrp="1"/>
          </p:cNvSpPr>
          <p:nvPr>
            <p:ph type="body" sz="quarter" idx="10"/>
          </p:nvPr>
        </p:nvSpPr>
        <p:spPr>
          <a:xfrm>
            <a:off x="1781440" y="6461686"/>
            <a:ext cx="4070092" cy="429037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21507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6" y="478368"/>
            <a:ext cx="9837778" cy="1508760"/>
          </a:xfrm>
          <a:solidFill>
            <a:srgbClr val="92C1E9"/>
          </a:solidFill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2330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5" y="478367"/>
            <a:ext cx="9837779" cy="1508760"/>
          </a:xfrm>
          <a:solidFill>
            <a:srgbClr val="92C1E9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9850438" y="7083425"/>
            <a:ext cx="83820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kumimoji="1" sz="4600" kern="1200" baseline="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1pPr>
            <a:lvl2pPr marL="520700" indent="-63500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2pPr>
            <a:lvl3pPr marL="1042988" indent="-128588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3pPr>
            <a:lvl4pPr marL="1563688" indent="-192088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4pPr>
            <a:lvl5pPr marL="2085975" indent="-257175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3400EF4-D14B-4B3E-8643-5A6D23594193}" type="slidenum">
              <a:rPr lang="uk-UA" sz="1400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 algn="r"/>
              <a:t>‹#›</a:t>
            </a:fld>
            <a:endParaRPr lang="uk-UA" sz="1400" dirty="0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5228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5919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i="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660190" y="7009643"/>
            <a:ext cx="2494016" cy="402652"/>
          </a:xfrm>
          <a:prstGeom prst="rect">
            <a:avLst/>
          </a:prstGeom>
        </p:spPr>
        <p:txBody>
          <a:bodyPr lIns="99551" tIns="49775" rIns="99551" bIns="49775"/>
          <a:lstStyle/>
          <a:p>
            <a:fld id="{D2D60487-EF63-4C74-8902-B9A9FB25E80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61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7"/>
          <p:cNvSpPr>
            <a:spLocks noChangeArrowheads="1"/>
          </p:cNvSpPr>
          <p:nvPr userDrawn="1"/>
        </p:nvSpPr>
        <p:spPr bwMode="auto">
          <a:xfrm>
            <a:off x="0" y="0"/>
            <a:ext cx="10688638" cy="75628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Freeform 7"/>
          <p:cNvSpPr/>
          <p:nvPr userDrawn="1"/>
        </p:nvSpPr>
        <p:spPr>
          <a:xfrm>
            <a:off x="439738" y="804863"/>
            <a:ext cx="9837737" cy="6300787"/>
          </a:xfrm>
          <a:custGeom>
            <a:avLst/>
            <a:gdLst>
              <a:gd name="connsiteX0" fmla="*/ 9758223 w 9758223"/>
              <a:gd name="connsiteY0" fmla="*/ 6280264 h 6280264"/>
              <a:gd name="connsiteX1" fmla="*/ 0 w 9758223"/>
              <a:gd name="connsiteY1" fmla="*/ 6280264 h 6280264"/>
              <a:gd name="connsiteX2" fmla="*/ 0 w 9758223"/>
              <a:gd name="connsiteY2" fmla="*/ 0 h 6280264"/>
              <a:gd name="connsiteX3" fmla="*/ 9758223 w 9758223"/>
              <a:gd name="connsiteY3" fmla="*/ 0 h 6280264"/>
              <a:gd name="connsiteX4" fmla="*/ 9758223 w 9758223"/>
              <a:gd name="connsiteY4" fmla="*/ 6280264 h 628026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280264">
                <a:moveTo>
                  <a:pt x="9758223" y="6280264"/>
                </a:moveTo>
                <a:lnTo>
                  <a:pt x="0" y="6280264"/>
                </a:lnTo>
                <a:lnTo>
                  <a:pt x="0" y="0"/>
                </a:lnTo>
                <a:lnTo>
                  <a:pt x="9758223" y="0"/>
                </a:lnTo>
                <a:lnTo>
                  <a:pt x="9758223" y="6280264"/>
                </a:lnTo>
              </a:path>
            </a:pathLst>
          </a:custGeom>
          <a:solidFill>
            <a:srgbClr val="FF585D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pic>
        <p:nvPicPr>
          <p:cNvPr id="5" name="Picture 28" descr="oschad-01.jp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638" y="396875"/>
            <a:ext cx="1617662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1471613" y="6650038"/>
            <a:ext cx="649217" cy="184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Презентація</a:t>
            </a:r>
            <a:endParaRPr kumimoji="0" lang="ru-RU" altLang="zh-CN" sz="900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7" name="TextBox 1"/>
          <p:cNvSpPr txBox="1">
            <a:spLocks noChangeArrowheads="1"/>
          </p:cNvSpPr>
          <p:nvPr userDrawn="1"/>
        </p:nvSpPr>
        <p:spPr bwMode="auto">
          <a:xfrm>
            <a:off x="3030538" y="6650038"/>
            <a:ext cx="1352934" cy="193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Київ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, </a:t>
            </a: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вересень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 2015 року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0"/>
          </p:nvPr>
        </p:nvSpPr>
        <p:spPr>
          <a:xfrm>
            <a:off x="1310680" y="2259398"/>
            <a:ext cx="7926416" cy="3709602"/>
          </a:xfrm>
        </p:spPr>
        <p:txBody>
          <a:bodyPr>
            <a:noAutofit/>
          </a:bodyPr>
          <a:lstStyle>
            <a:lvl1pPr marL="0" indent="0">
              <a:buNone/>
              <a:defRPr sz="4600" baseline="0">
                <a:solidFill>
                  <a:srgbClr val="FFFFFF"/>
                </a:solidFill>
              </a:defRPr>
            </a:lvl1pPr>
            <a:lvl2pPr>
              <a:defRPr sz="5500">
                <a:solidFill>
                  <a:srgbClr val="FFFFFF"/>
                </a:solidFill>
              </a:defRPr>
            </a:lvl2pPr>
            <a:lvl3pPr>
              <a:defRPr sz="5500">
                <a:solidFill>
                  <a:srgbClr val="FFFFFF"/>
                </a:solidFill>
              </a:defRPr>
            </a:lvl3pPr>
            <a:lvl4pPr>
              <a:defRPr sz="5500">
                <a:solidFill>
                  <a:srgbClr val="FFFFFF"/>
                </a:solidFill>
              </a:defRPr>
            </a:lvl4pPr>
            <a:lvl5pPr>
              <a:defRPr sz="5500">
                <a:solidFill>
                  <a:srgbClr val="FFFFFF"/>
                </a:solidFill>
              </a:defRPr>
            </a:lvl5pPr>
          </a:lstStyle>
          <a:p>
            <a:r>
              <a:rPr lang="ru-RU" altLang="zh-CN" dirty="0" smtClean="0"/>
              <a:t>Образец текст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453784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 userDrawn="1"/>
        </p:nvSpPr>
        <p:spPr>
          <a:xfrm>
            <a:off x="449263" y="439738"/>
            <a:ext cx="9837737" cy="6669087"/>
          </a:xfrm>
          <a:custGeom>
            <a:avLst/>
            <a:gdLst>
              <a:gd name="connsiteX0" fmla="*/ 9758223 w 9758223"/>
              <a:gd name="connsiteY0" fmla="*/ 6626035 h 6626035"/>
              <a:gd name="connsiteX1" fmla="*/ 0 w 9758223"/>
              <a:gd name="connsiteY1" fmla="*/ 6626035 h 6626035"/>
              <a:gd name="connsiteX2" fmla="*/ 0 w 9758223"/>
              <a:gd name="connsiteY2" fmla="*/ 0 h 6626035"/>
              <a:gd name="connsiteX3" fmla="*/ 9758223 w 9758223"/>
              <a:gd name="connsiteY3" fmla="*/ 0 h 6626035"/>
              <a:gd name="connsiteX4" fmla="*/ 9758223 w 9758223"/>
              <a:gd name="connsiteY4" fmla="*/ 6626035 h 662603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626035">
                <a:moveTo>
                  <a:pt x="9758223" y="6626035"/>
                </a:moveTo>
                <a:lnTo>
                  <a:pt x="0" y="6626035"/>
                </a:lnTo>
                <a:lnTo>
                  <a:pt x="0" y="0"/>
                </a:lnTo>
                <a:lnTo>
                  <a:pt x="9758223" y="0"/>
                </a:lnTo>
                <a:lnTo>
                  <a:pt x="9758223" y="6626035"/>
                </a:lnTo>
              </a:path>
            </a:pathLst>
          </a:custGeom>
          <a:solidFill>
            <a:srgbClr val="92C1E9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1781175" y="2408238"/>
            <a:ext cx="4806950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6500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разделительный</a:t>
            </a:r>
          </a:p>
          <a:p>
            <a:pPr eaLnBrk="1" hangingPunct="1">
              <a:lnSpc>
                <a:spcPts val="5813"/>
              </a:lnSpc>
            </a:pPr>
            <a:r>
              <a:rPr kumimoji="0" lang="en-US" altLang="zh-CN" sz="4600" b="1">
                <a:solidFill>
                  <a:srgbClr val="FFFFFF"/>
                </a:solidFill>
                <a:latin typeface="Trebuchet MS" pitchFamily="34" charset="0"/>
              </a:rPr>
              <a:t>слайд</a:t>
            </a:r>
          </a:p>
        </p:txBody>
      </p:sp>
      <p:sp>
        <p:nvSpPr>
          <p:cNvPr id="7" name="Текст 9"/>
          <p:cNvSpPr>
            <a:spLocks noGrp="1"/>
          </p:cNvSpPr>
          <p:nvPr>
            <p:ph type="body" sz="quarter" idx="10"/>
          </p:nvPr>
        </p:nvSpPr>
        <p:spPr>
          <a:xfrm>
            <a:off x="1781440" y="6461686"/>
            <a:ext cx="4070092" cy="429037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75202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5" y="465665"/>
            <a:ext cx="9837779" cy="1508760"/>
          </a:xfrm>
          <a:solidFill>
            <a:srgbClr val="92C1E9"/>
          </a:solidFill>
        </p:spPr>
        <p:txBody>
          <a:bodyPr/>
          <a:lstStyle>
            <a:lvl1pPr marL="292100" indent="-4763"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508250"/>
            <a:ext cx="9829800" cy="448627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53459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09" y="478367"/>
            <a:ext cx="9837779" cy="1508760"/>
          </a:xfrm>
          <a:solidFill>
            <a:srgbClr val="92C1E9"/>
          </a:solidFill>
        </p:spPr>
        <p:txBody>
          <a:bodyPr/>
          <a:lstStyle>
            <a:lvl1pPr marL="292100" indent="-4763"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762042" y="2379027"/>
            <a:ext cx="9524445" cy="1615279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Содержимое 2"/>
          <p:cNvSpPr>
            <a:spLocks noGrp="1"/>
          </p:cNvSpPr>
          <p:nvPr>
            <p:ph idx="13"/>
          </p:nvPr>
        </p:nvSpPr>
        <p:spPr>
          <a:xfrm>
            <a:off x="762042" y="4336538"/>
            <a:ext cx="9524445" cy="1615279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048677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2943" y="474140"/>
            <a:ext cx="9833546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53817" y="2235200"/>
            <a:ext cx="2275133" cy="45593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500"/>
            </a:lvl1pPr>
            <a:lvl2pPr marL="521437" indent="0">
              <a:buNone/>
              <a:defRPr sz="2700"/>
            </a:lvl2pPr>
            <a:lvl3pPr marL="1042873" indent="0">
              <a:buNone/>
              <a:defRPr sz="2300"/>
            </a:lvl3pPr>
            <a:lvl4pPr marL="1564310" indent="0">
              <a:buNone/>
              <a:defRPr sz="2100"/>
            </a:lvl4pPr>
            <a:lvl5pPr marL="2085746" indent="0">
              <a:buNone/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530600" y="2235200"/>
            <a:ext cx="6755889" cy="4559300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sz="1300" spc="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272304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6" y="478368"/>
            <a:ext cx="9837778" cy="1508760"/>
          </a:xfrm>
          <a:solidFill>
            <a:srgbClr val="92C1E9"/>
          </a:solidFill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32489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5" y="465665"/>
            <a:ext cx="9837779" cy="1508760"/>
          </a:xfrm>
          <a:solidFill>
            <a:srgbClr val="92C1E9"/>
          </a:solidFill>
        </p:spPr>
        <p:txBody>
          <a:bodyPr/>
          <a:lstStyle>
            <a:lvl1pPr marL="292100" indent="-4763">
              <a:lnSpc>
                <a:spcPct val="100000"/>
              </a:lnSpc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2508250"/>
            <a:ext cx="9829800" cy="448627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500"/>
            </a:lvl1pPr>
            <a:lvl2pPr>
              <a:lnSpc>
                <a:spcPct val="100000"/>
              </a:lnSpc>
              <a:defRPr sz="1500"/>
            </a:lvl2pPr>
            <a:lvl3pPr>
              <a:lnSpc>
                <a:spcPct val="100000"/>
              </a:lnSpc>
              <a:defRPr sz="1500"/>
            </a:lvl3pPr>
            <a:lvl4pPr>
              <a:lnSpc>
                <a:spcPct val="100000"/>
              </a:lnSpc>
              <a:defRPr sz="1500"/>
            </a:lvl4pPr>
            <a:lvl5pPr>
              <a:lnSpc>
                <a:spcPct val="100000"/>
              </a:lnSpc>
              <a:defRPr sz="1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40129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5" y="478367"/>
            <a:ext cx="9837779" cy="1508760"/>
          </a:xfrm>
          <a:solidFill>
            <a:srgbClr val="92C1E9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9850438" y="7083425"/>
            <a:ext cx="83820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kumimoji="1" sz="4600" kern="1200" baseline="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1pPr>
            <a:lvl2pPr marL="520700" indent="-63500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2pPr>
            <a:lvl3pPr marL="1042988" indent="-128588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3pPr>
            <a:lvl4pPr marL="1563688" indent="-192088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4pPr>
            <a:lvl5pPr marL="2085975" indent="-257175" algn="l" defTabSz="5207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5500" kern="1200">
                <a:solidFill>
                  <a:srgbClr val="FFFFFF"/>
                </a:solidFill>
                <a:latin typeface="Trebuchet MS"/>
                <a:ea typeface="Arial" charset="0"/>
                <a:cs typeface="Trebuchet MS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3400EF4-D14B-4B3E-8643-5A6D23594193}" type="slidenum">
              <a:rPr lang="uk-UA" sz="1400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 algn="r"/>
              <a:t>‹#›</a:t>
            </a:fld>
            <a:endParaRPr lang="uk-UA" sz="1400" dirty="0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5903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86474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i="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660190" y="7009643"/>
            <a:ext cx="2494016" cy="402652"/>
          </a:xfrm>
          <a:prstGeom prst="rect">
            <a:avLst/>
          </a:prstGeom>
        </p:spPr>
        <p:txBody>
          <a:bodyPr lIns="99551" tIns="49775" rIns="99551" bIns="49775"/>
          <a:lstStyle/>
          <a:p>
            <a:fld id="{D2D60487-EF63-4C74-8902-B9A9FB25E80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16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7"/>
          <p:cNvSpPr>
            <a:spLocks noChangeArrowheads="1"/>
          </p:cNvSpPr>
          <p:nvPr userDrawn="1"/>
        </p:nvSpPr>
        <p:spPr bwMode="auto">
          <a:xfrm>
            <a:off x="0" y="0"/>
            <a:ext cx="10688638" cy="756285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Freeform 7"/>
          <p:cNvSpPr/>
          <p:nvPr userDrawn="1"/>
        </p:nvSpPr>
        <p:spPr>
          <a:xfrm>
            <a:off x="439738" y="804863"/>
            <a:ext cx="9837737" cy="6300787"/>
          </a:xfrm>
          <a:custGeom>
            <a:avLst/>
            <a:gdLst>
              <a:gd name="connsiteX0" fmla="*/ 9758223 w 9758223"/>
              <a:gd name="connsiteY0" fmla="*/ 6280264 h 6280264"/>
              <a:gd name="connsiteX1" fmla="*/ 0 w 9758223"/>
              <a:gd name="connsiteY1" fmla="*/ 6280264 h 6280264"/>
              <a:gd name="connsiteX2" fmla="*/ 0 w 9758223"/>
              <a:gd name="connsiteY2" fmla="*/ 0 h 6280264"/>
              <a:gd name="connsiteX3" fmla="*/ 9758223 w 9758223"/>
              <a:gd name="connsiteY3" fmla="*/ 0 h 6280264"/>
              <a:gd name="connsiteX4" fmla="*/ 9758223 w 9758223"/>
              <a:gd name="connsiteY4" fmla="*/ 6280264 h 628026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9758223" h="6280264">
                <a:moveTo>
                  <a:pt x="9758223" y="6280264"/>
                </a:moveTo>
                <a:lnTo>
                  <a:pt x="0" y="6280264"/>
                </a:lnTo>
                <a:lnTo>
                  <a:pt x="0" y="0"/>
                </a:lnTo>
                <a:lnTo>
                  <a:pt x="9758223" y="0"/>
                </a:lnTo>
                <a:lnTo>
                  <a:pt x="9758223" y="6280264"/>
                </a:lnTo>
              </a:path>
            </a:pathLst>
          </a:custGeom>
          <a:solidFill>
            <a:srgbClr val="FF585D"/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7" tIns="52144" rIns="104287" bIns="52144" anchor="ctr"/>
          <a:lstStyle/>
          <a:p>
            <a:pPr algn="ctr" defTabSz="521437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CN" altLang="en-US">
              <a:solidFill>
                <a:prstClr val="white"/>
              </a:solidFill>
            </a:endParaRPr>
          </a:p>
        </p:txBody>
      </p:sp>
      <p:pic>
        <p:nvPicPr>
          <p:cNvPr id="5" name="Picture 28" descr="oschad-01.jp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638" y="396875"/>
            <a:ext cx="1617662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1471613" y="6650038"/>
            <a:ext cx="649217" cy="184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Презентація</a:t>
            </a:r>
            <a:endParaRPr kumimoji="0" lang="ru-RU" altLang="zh-CN" sz="900" dirty="0" smtClean="0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7" name="TextBox 1"/>
          <p:cNvSpPr txBox="1">
            <a:spLocks noChangeArrowheads="1"/>
          </p:cNvSpPr>
          <p:nvPr userDrawn="1"/>
        </p:nvSpPr>
        <p:spPr bwMode="auto">
          <a:xfrm>
            <a:off x="3030538" y="6650038"/>
            <a:ext cx="1352934" cy="193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52144"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ts val="1138"/>
              </a:lnSpc>
            </a:pP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Київ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, </a:t>
            </a:r>
            <a:r>
              <a:rPr kumimoji="0" lang="ru-RU" altLang="zh-CN" sz="900" dirty="0" err="1" smtClean="0">
                <a:solidFill>
                  <a:srgbClr val="FFFFFF"/>
                </a:solidFill>
                <a:latin typeface="Trebuchet MS" pitchFamily="34" charset="0"/>
              </a:rPr>
              <a:t>вересень</a:t>
            </a:r>
            <a:r>
              <a:rPr kumimoji="0" lang="ru-RU" altLang="zh-CN" sz="900" dirty="0" smtClean="0">
                <a:solidFill>
                  <a:srgbClr val="FFFFFF"/>
                </a:solidFill>
                <a:latin typeface="Trebuchet MS" pitchFamily="34" charset="0"/>
              </a:rPr>
              <a:t> 2015 року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0"/>
          </p:nvPr>
        </p:nvSpPr>
        <p:spPr>
          <a:xfrm>
            <a:off x="1310680" y="2259398"/>
            <a:ext cx="7926416" cy="3709602"/>
          </a:xfrm>
        </p:spPr>
        <p:txBody>
          <a:bodyPr>
            <a:noAutofit/>
          </a:bodyPr>
          <a:lstStyle>
            <a:lvl1pPr marL="0" indent="0">
              <a:buNone/>
              <a:defRPr sz="4600" baseline="0">
                <a:solidFill>
                  <a:srgbClr val="FFFFFF"/>
                </a:solidFill>
              </a:defRPr>
            </a:lvl1pPr>
            <a:lvl2pPr>
              <a:defRPr sz="5500">
                <a:solidFill>
                  <a:srgbClr val="FFFFFF"/>
                </a:solidFill>
              </a:defRPr>
            </a:lvl2pPr>
            <a:lvl3pPr>
              <a:defRPr sz="5500">
                <a:solidFill>
                  <a:srgbClr val="FFFFFF"/>
                </a:solidFill>
              </a:defRPr>
            </a:lvl3pPr>
            <a:lvl4pPr>
              <a:defRPr sz="5500">
                <a:solidFill>
                  <a:srgbClr val="FFFFFF"/>
                </a:solidFill>
              </a:defRPr>
            </a:lvl4pPr>
            <a:lvl5pPr>
              <a:defRPr sz="5500">
                <a:solidFill>
                  <a:srgbClr val="FFFFFF"/>
                </a:solidFill>
              </a:defRPr>
            </a:lvl5pPr>
          </a:lstStyle>
          <a:p>
            <a:r>
              <a:rPr lang="ru-RU" altLang="zh-CN" dirty="0" smtClean="0"/>
              <a:t>Образец текст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046661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8709" y="478367"/>
            <a:ext cx="9837779" cy="1508760"/>
          </a:xfrm>
          <a:solidFill>
            <a:srgbClr val="92C1E9"/>
          </a:solidFill>
        </p:spPr>
        <p:txBody>
          <a:bodyPr/>
          <a:lstStyle>
            <a:lvl1pPr marL="292100" indent="-4763"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762042" y="2379027"/>
            <a:ext cx="9524445" cy="1615279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Содержимое 2"/>
          <p:cNvSpPr>
            <a:spLocks noGrp="1"/>
          </p:cNvSpPr>
          <p:nvPr>
            <p:ph idx="13"/>
          </p:nvPr>
        </p:nvSpPr>
        <p:spPr>
          <a:xfrm>
            <a:off x="762042" y="4336538"/>
            <a:ext cx="9524445" cy="1615279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38105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2943" y="474140"/>
            <a:ext cx="9833546" cy="15087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53817" y="2235200"/>
            <a:ext cx="2275133" cy="45593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500"/>
            </a:lvl1pPr>
            <a:lvl2pPr marL="521437" indent="0">
              <a:buNone/>
              <a:defRPr sz="2700"/>
            </a:lvl2pPr>
            <a:lvl3pPr marL="1042873" indent="0">
              <a:buNone/>
              <a:defRPr sz="2300"/>
            </a:lvl3pPr>
            <a:lvl4pPr marL="1564310" indent="0">
              <a:buNone/>
              <a:defRPr sz="2100"/>
            </a:lvl4pPr>
            <a:lvl5pPr marL="2085746" indent="0">
              <a:buNone/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530600" y="2235200"/>
            <a:ext cx="6755889" cy="4559300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buNone/>
              <a:defRPr sz="1300" spc="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060501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176" y="478368"/>
            <a:ext cx="9837778" cy="1508760"/>
          </a:xfrm>
          <a:solidFill>
            <a:srgbClr val="92C1E9"/>
          </a:solidFill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432" y="1692889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432" y="2398404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29680" y="1692889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7" indent="0">
              <a:buNone/>
              <a:defRPr sz="2300" b="1"/>
            </a:lvl2pPr>
            <a:lvl3pPr marL="1042873" indent="0">
              <a:buNone/>
              <a:defRPr sz="2100" b="1"/>
            </a:lvl3pPr>
            <a:lvl4pPr marL="1564310" indent="0">
              <a:buNone/>
              <a:defRPr sz="1800" b="1"/>
            </a:lvl4pPr>
            <a:lvl5pPr marL="2085746" indent="0">
              <a:buNone/>
              <a:defRPr sz="1800" b="1"/>
            </a:lvl5pPr>
            <a:lvl6pPr marL="2607183" indent="0">
              <a:buNone/>
              <a:defRPr sz="1800" b="1"/>
            </a:lvl6pPr>
            <a:lvl7pPr marL="3128620" indent="0">
              <a:buNone/>
              <a:defRPr sz="1800" b="1"/>
            </a:lvl7pPr>
            <a:lvl8pPr marL="3650056" indent="0">
              <a:buNone/>
              <a:defRPr sz="1800" b="1"/>
            </a:lvl8pPr>
            <a:lvl9pPr marL="4171493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29680" y="2398404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51911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8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3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5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.jpe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1.jpeg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2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1.jpe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49263" y="474663"/>
            <a:ext cx="9837737" cy="1503362"/>
          </a:xfrm>
          <a:prstGeom prst="rect">
            <a:avLst/>
          </a:prstGeom>
          <a:solidFill>
            <a:srgbClr val="6BBB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Click to edit </a:t>
            </a:r>
            <a:br>
              <a:rPr lang="ru-RU" altLang="en-US" smtClean="0"/>
            </a:br>
            <a:r>
              <a:rPr lang="ru-RU" altLang="en-US" smtClean="0"/>
              <a:t>Master title style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49263" y="2506663"/>
            <a:ext cx="9837737" cy="447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pic>
        <p:nvPicPr>
          <p:cNvPr id="1028" name="Picture 32" descr="oschad-01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788" y="7091363"/>
            <a:ext cx="938212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ntent Placeholder 14"/>
          <p:cNvSpPr txBox="1">
            <a:spLocks/>
          </p:cNvSpPr>
          <p:nvPr/>
        </p:nvSpPr>
        <p:spPr>
          <a:xfrm>
            <a:off x="757238" y="7194550"/>
            <a:ext cx="187420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Київ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,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лютий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2015 року</a:t>
            </a:r>
          </a:p>
        </p:txBody>
      </p:sp>
      <p:sp>
        <p:nvSpPr>
          <p:cNvPr id="8" name="Content Placeholder 14"/>
          <p:cNvSpPr txBox="1">
            <a:spLocks/>
          </p:cNvSpPr>
          <p:nvPr/>
        </p:nvSpPr>
        <p:spPr>
          <a:xfrm>
            <a:off x="3636963" y="7194550"/>
            <a:ext cx="270351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Стратегія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трансформації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Ощадбанк</a:t>
            </a:r>
            <a:endParaRPr lang="ru-RU" altLang="zh-CN" sz="900" dirty="0" smtClean="0">
              <a:solidFill>
                <a:srgbClr val="7F7F7F"/>
              </a:solidFill>
              <a:latin typeface="Trebuchet MS" pitchFamily="34" charset="0"/>
              <a:ea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FFFFFF"/>
          </a:solidFill>
          <a:latin typeface="Trebuchet MS"/>
          <a:ea typeface="Arial" charset="0"/>
          <a:cs typeface="Trebuchet MS"/>
        </a:defRPr>
      </a:lvl1pPr>
      <a:lvl2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Trebuchet MS" charset="0"/>
          <a:ea typeface="Arial" charset="0"/>
        </a:defRPr>
      </a:lvl2pPr>
      <a:lvl3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Trebuchet MS" charset="0"/>
          <a:ea typeface="Arial" charset="0"/>
        </a:defRPr>
      </a:lvl3pPr>
      <a:lvl4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Trebuchet MS" charset="0"/>
          <a:ea typeface="Arial" charset="0"/>
        </a:defRPr>
      </a:lvl4pPr>
      <a:lvl5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Trebuchet MS" charset="0"/>
          <a:ea typeface="Arial" charset="0"/>
        </a:defRPr>
      </a:lvl5pPr>
      <a:lvl6pPr marL="521437" algn="l" defTabSz="521437" rtl="0" fontAlgn="base"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Trebuchet MS" charset="0"/>
          <a:ea typeface="Arial" charset="0"/>
        </a:defRPr>
      </a:lvl6pPr>
      <a:lvl7pPr marL="1042873" algn="l" defTabSz="521437" rtl="0" fontAlgn="base"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Trebuchet MS" charset="0"/>
          <a:ea typeface="Arial" charset="0"/>
        </a:defRPr>
      </a:lvl7pPr>
      <a:lvl8pPr marL="1564310" algn="l" defTabSz="521437" rtl="0" fontAlgn="base"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Trebuchet MS" charset="0"/>
          <a:ea typeface="Arial" charset="0"/>
        </a:defRPr>
      </a:lvl8pPr>
      <a:lvl9pPr marL="2085746" algn="l" defTabSz="521437" rtl="0" fontAlgn="base"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Trebuchet MS" charset="0"/>
          <a:ea typeface="Arial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085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9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465138"/>
            <a:ext cx="9837738" cy="1509712"/>
          </a:xfrm>
          <a:prstGeom prst="rect">
            <a:avLst/>
          </a:prstGeom>
          <a:solidFill>
            <a:srgbClr val="92C1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err="1" smtClean="0"/>
              <a:t>Click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o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edit</a:t>
            </a:r>
            <a:r>
              <a:rPr lang="ru-RU" altLang="en-US" dirty="0" smtClean="0"/>
              <a:t> </a:t>
            </a:r>
            <a:br>
              <a:rPr lang="ru-RU" altLang="en-US" dirty="0" smtClean="0"/>
            </a:br>
            <a:r>
              <a:rPr lang="ru-RU" altLang="en-US" dirty="0" err="1" smtClean="0"/>
              <a:t>Master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itle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style</a:t>
            </a:r>
            <a:endParaRPr lang="ru-RU" altLang="en-US" dirty="0" smtClean="0"/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2508250"/>
            <a:ext cx="9829800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smtClean="0"/>
              <a:t>Образец текста</a:t>
            </a:r>
          </a:p>
          <a:p>
            <a:pPr lvl="1"/>
            <a:r>
              <a:rPr lang="ru-RU" altLang="en-US" dirty="0" smtClean="0"/>
              <a:t>Второй уровень</a:t>
            </a:r>
          </a:p>
          <a:p>
            <a:pPr lvl="2"/>
            <a:r>
              <a:rPr lang="ru-RU" altLang="en-US" dirty="0" smtClean="0"/>
              <a:t>Третий уровень</a:t>
            </a:r>
          </a:p>
          <a:p>
            <a:pPr lvl="3"/>
            <a:r>
              <a:rPr lang="ru-RU" altLang="en-US" dirty="0" smtClean="0"/>
              <a:t>Четвертый уровень</a:t>
            </a:r>
          </a:p>
          <a:p>
            <a:pPr lvl="4"/>
            <a:r>
              <a:rPr lang="ru-RU" altLang="en-US" dirty="0" smtClean="0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18" r:id="rId8"/>
    <p:sldLayoutId id="2147484063" r:id="rId9"/>
  </p:sldLayoutIdLst>
  <p:hf hdr="0" ftr="0" dt="0"/>
  <p:txStyles>
    <p:titleStyle>
      <a:lvl1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Trebuchet MS"/>
          <a:ea typeface="Arial" charset="0"/>
          <a:cs typeface="Trebuchet MS"/>
        </a:defRPr>
      </a:lvl1pPr>
      <a:lvl2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2pPr>
      <a:lvl3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3pPr>
      <a:lvl4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4pPr>
      <a:lvl5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5pPr>
      <a:lvl6pPr marL="521437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6pPr>
      <a:lvl7pPr marL="1042873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7pPr>
      <a:lvl8pPr marL="1564310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8pPr>
      <a:lvl9pPr marL="2085746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035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 bwMode="auto">
          <a:xfrm>
            <a:off x="449263" y="469900"/>
            <a:ext cx="9837737" cy="1508125"/>
          </a:xfrm>
          <a:prstGeom prst="rect">
            <a:avLst/>
          </a:prstGeom>
          <a:solidFill>
            <a:srgbClr val="FF58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Click to edit </a:t>
            </a:r>
            <a:br>
              <a:rPr lang="ru-RU" altLang="en-US" smtClean="0"/>
            </a:br>
            <a:r>
              <a:rPr lang="ru-RU" altLang="en-US" smtClean="0"/>
              <a:t>Master title style</a:t>
            </a:r>
          </a:p>
        </p:txBody>
      </p:sp>
      <p:sp>
        <p:nvSpPr>
          <p:cNvPr id="4099" name="Текст 2"/>
          <p:cNvSpPr>
            <a:spLocks noGrp="1"/>
          </p:cNvSpPr>
          <p:nvPr>
            <p:ph type="body" idx="1"/>
          </p:nvPr>
        </p:nvSpPr>
        <p:spPr bwMode="auto">
          <a:xfrm>
            <a:off x="757238" y="2335213"/>
            <a:ext cx="9529762" cy="448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Образец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текста</a:t>
            </a:r>
            <a:endParaRPr lang="en-US" altLang="en-US" dirty="0" smtClean="0"/>
          </a:p>
          <a:p>
            <a:pPr lvl="1"/>
            <a:r>
              <a:rPr lang="en-US" altLang="en-US" dirty="0" err="1" smtClean="0"/>
              <a:t>Второй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уровень</a:t>
            </a:r>
            <a:endParaRPr lang="en-US" altLang="en-US" dirty="0" smtClean="0"/>
          </a:p>
          <a:p>
            <a:pPr lvl="2"/>
            <a:r>
              <a:rPr lang="en-US" altLang="en-US" dirty="0" err="1" smtClean="0"/>
              <a:t>Третий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уровень</a:t>
            </a:r>
            <a:endParaRPr lang="en-US" altLang="en-US" dirty="0" smtClean="0"/>
          </a:p>
          <a:p>
            <a:pPr lvl="3"/>
            <a:r>
              <a:rPr lang="en-US" altLang="en-US" dirty="0" err="1" smtClean="0"/>
              <a:t>Четвертый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уровень</a:t>
            </a:r>
            <a:endParaRPr lang="en-US" altLang="en-US" dirty="0" smtClean="0"/>
          </a:p>
          <a:p>
            <a:pPr lvl="4"/>
            <a:r>
              <a:rPr lang="en-US" altLang="en-US" dirty="0" err="1" smtClean="0"/>
              <a:t>Пятый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уровень</a:t>
            </a:r>
            <a:endParaRPr lang="ru-RU" altLang="en-US" dirty="0" smtClean="0"/>
          </a:p>
        </p:txBody>
      </p:sp>
      <p:pic>
        <p:nvPicPr>
          <p:cNvPr id="4100" name="Picture 32" descr="oschad-01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788" y="7091363"/>
            <a:ext cx="938212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ontent Placeholder 14"/>
          <p:cNvSpPr txBox="1">
            <a:spLocks/>
          </p:cNvSpPr>
          <p:nvPr/>
        </p:nvSpPr>
        <p:spPr>
          <a:xfrm>
            <a:off x="757238" y="7194550"/>
            <a:ext cx="184372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Київ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,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лютий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2015 року</a:t>
            </a:r>
          </a:p>
        </p:txBody>
      </p:sp>
      <p:sp>
        <p:nvSpPr>
          <p:cNvPr id="14" name="Content Placeholder 14"/>
          <p:cNvSpPr txBox="1">
            <a:spLocks/>
          </p:cNvSpPr>
          <p:nvPr/>
        </p:nvSpPr>
        <p:spPr>
          <a:xfrm>
            <a:off x="3636963" y="7194550"/>
            <a:ext cx="270351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Стратегія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трансформації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Ощадбанк</a:t>
            </a:r>
            <a:endParaRPr lang="ru-RU" altLang="zh-CN" sz="900" dirty="0" smtClean="0">
              <a:solidFill>
                <a:srgbClr val="7F7F7F"/>
              </a:solidFill>
              <a:latin typeface="Trebuchet MS" pitchFamily="34" charset="0"/>
              <a:ea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</p:sldLayoutIdLst>
  <p:hf hdr="0" ftr="0" dt="0"/>
  <p:txStyles>
    <p:titleStyle>
      <a:lvl1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Trebuchet MS"/>
          <a:ea typeface="Arial" charset="0"/>
          <a:cs typeface="Trebuchet MS"/>
        </a:defRPr>
      </a:lvl1pPr>
      <a:lvl2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2pPr>
      <a:lvl3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3pPr>
      <a:lvl4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4pPr>
      <a:lvl5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5pPr>
      <a:lvl6pPr marL="521437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6pPr>
      <a:lvl7pPr marL="1042873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7pPr>
      <a:lvl8pPr marL="1564310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8pPr>
      <a:lvl9pPr marL="2085746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9pPr>
    </p:titleStyle>
    <p:bodyStyle>
      <a:lvl1pPr marL="342900" indent="-34290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1pPr>
      <a:lvl2pPr marL="520700" indent="-6350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2pPr>
      <a:lvl3pPr marL="1042988" indent="-12858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3pPr>
      <a:lvl4pPr marL="1563688" indent="-19208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4pPr>
      <a:lvl5pPr marL="2085975" indent="-25717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>
            <a:spLocks noGrp="1"/>
          </p:cNvSpPr>
          <p:nvPr>
            <p:ph type="title"/>
          </p:nvPr>
        </p:nvSpPr>
        <p:spPr bwMode="auto">
          <a:xfrm>
            <a:off x="447675" y="477838"/>
            <a:ext cx="9839325" cy="1508125"/>
          </a:xfrm>
          <a:prstGeom prst="rect">
            <a:avLst/>
          </a:prstGeom>
          <a:solidFill>
            <a:srgbClr val="FDAA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smtClean="0"/>
              <a:t>   </a:t>
            </a:r>
            <a:r>
              <a:rPr lang="ru-RU" altLang="en-US" dirty="0" err="1" smtClean="0"/>
              <a:t>Click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o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edit</a:t>
            </a:r>
            <a:r>
              <a:rPr lang="ru-RU" altLang="en-US" dirty="0" smtClean="0"/>
              <a:t> </a:t>
            </a:r>
            <a:br>
              <a:rPr lang="ru-RU" altLang="en-US" dirty="0" smtClean="0"/>
            </a:br>
            <a:r>
              <a:rPr lang="ru-RU" altLang="en-US" dirty="0" err="1" smtClean="0"/>
              <a:t>Master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itle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style</a:t>
            </a:r>
            <a:endParaRPr lang="ru-RU" altLang="en-US" dirty="0" smtClean="0"/>
          </a:p>
        </p:txBody>
      </p:sp>
      <p:sp>
        <p:nvSpPr>
          <p:cNvPr id="8195" name="Текст 2"/>
          <p:cNvSpPr>
            <a:spLocks noGrp="1"/>
          </p:cNvSpPr>
          <p:nvPr>
            <p:ph type="body" idx="1"/>
          </p:nvPr>
        </p:nvSpPr>
        <p:spPr bwMode="auto">
          <a:xfrm>
            <a:off x="447675" y="2260600"/>
            <a:ext cx="9839325" cy="448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smtClean="0"/>
          </a:p>
        </p:txBody>
      </p:sp>
      <p:pic>
        <p:nvPicPr>
          <p:cNvPr id="8196" name="Picture 32" descr="oschad-01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788" y="7091363"/>
            <a:ext cx="938212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14"/>
          <p:cNvSpPr txBox="1">
            <a:spLocks/>
          </p:cNvSpPr>
          <p:nvPr/>
        </p:nvSpPr>
        <p:spPr>
          <a:xfrm>
            <a:off x="757238" y="7194550"/>
            <a:ext cx="169132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Київ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,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лютий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2015 року</a:t>
            </a:r>
          </a:p>
        </p:txBody>
      </p:sp>
      <p:sp>
        <p:nvSpPr>
          <p:cNvPr id="13" name="Content Placeholder 14"/>
          <p:cNvSpPr txBox="1">
            <a:spLocks/>
          </p:cNvSpPr>
          <p:nvPr/>
        </p:nvSpPr>
        <p:spPr>
          <a:xfrm>
            <a:off x="3636963" y="7194550"/>
            <a:ext cx="270351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Стратегія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трансформації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Ощадбанк</a:t>
            </a:r>
            <a:endParaRPr lang="ru-RU" altLang="zh-CN" sz="900" dirty="0" smtClean="0">
              <a:solidFill>
                <a:srgbClr val="7F7F7F"/>
              </a:solidFill>
              <a:latin typeface="Trebuchet MS" pitchFamily="34" charset="0"/>
              <a:ea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Trebuchet MS"/>
          <a:ea typeface="Arial" charset="0"/>
          <a:cs typeface="Trebuchet MS"/>
        </a:defRPr>
      </a:lvl1pPr>
      <a:lvl2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2pPr>
      <a:lvl3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3pPr>
      <a:lvl4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4pPr>
      <a:lvl5pPr marL="292100" indent="-292100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5pPr>
      <a:lvl6pPr marL="521437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6pPr>
      <a:lvl7pPr marL="1042873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7pPr>
      <a:lvl8pPr marL="1564310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8pPr>
      <a:lvl9pPr marL="2085746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700" kern="1200">
          <a:solidFill>
            <a:schemeClr val="tx1"/>
          </a:solidFill>
          <a:latin typeface="Trebuchet MS"/>
          <a:ea typeface="Arial" charset="0"/>
          <a:cs typeface="Trebuchet M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700" kern="1200">
          <a:solidFill>
            <a:schemeClr val="tx1"/>
          </a:solidFill>
          <a:latin typeface="Trebuchet MS"/>
          <a:ea typeface="Arial" charset="0"/>
          <a:cs typeface="Trebuchet M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700" kern="1200">
          <a:solidFill>
            <a:schemeClr val="tx1"/>
          </a:solidFill>
          <a:latin typeface="Trebuchet MS"/>
          <a:ea typeface="Arial" charset="0"/>
          <a:cs typeface="Trebuchet M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700" kern="1200">
          <a:solidFill>
            <a:schemeClr val="tx1"/>
          </a:solidFill>
          <a:latin typeface="Trebuchet MS"/>
          <a:ea typeface="Arial" charset="0"/>
          <a:cs typeface="Trebuchet M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700" kern="1200">
          <a:solidFill>
            <a:schemeClr val="tx1"/>
          </a:solidFill>
          <a:latin typeface="Trebuchet MS"/>
          <a:ea typeface="Arial" charset="0"/>
          <a:cs typeface="Trebuchet M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8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 bwMode="auto">
          <a:xfrm>
            <a:off x="449263" y="469900"/>
            <a:ext cx="9837737" cy="1508125"/>
          </a:xfrm>
          <a:prstGeom prst="rect">
            <a:avLst/>
          </a:prstGeom>
          <a:solidFill>
            <a:srgbClr val="FF58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Click to edit </a:t>
            </a:r>
            <a:br>
              <a:rPr lang="ru-RU" altLang="en-US" smtClean="0"/>
            </a:br>
            <a:r>
              <a:rPr lang="ru-RU" altLang="en-US" smtClean="0"/>
              <a:t>Master title style</a:t>
            </a:r>
          </a:p>
        </p:txBody>
      </p:sp>
      <p:sp>
        <p:nvSpPr>
          <p:cNvPr id="4099" name="Текст 2"/>
          <p:cNvSpPr>
            <a:spLocks noGrp="1"/>
          </p:cNvSpPr>
          <p:nvPr>
            <p:ph type="body" idx="1"/>
          </p:nvPr>
        </p:nvSpPr>
        <p:spPr bwMode="auto">
          <a:xfrm>
            <a:off x="757238" y="2335213"/>
            <a:ext cx="9529762" cy="448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Образец текста</a:t>
            </a:r>
          </a:p>
          <a:p>
            <a:pPr lvl="1"/>
            <a:r>
              <a:rPr lang="en-US" altLang="en-US" smtClean="0"/>
              <a:t>Второй уровень</a:t>
            </a:r>
          </a:p>
          <a:p>
            <a:pPr lvl="2"/>
            <a:r>
              <a:rPr lang="en-US" altLang="en-US" smtClean="0"/>
              <a:t>Третий уровень</a:t>
            </a:r>
          </a:p>
          <a:p>
            <a:pPr lvl="3"/>
            <a:r>
              <a:rPr lang="en-US" altLang="en-US" smtClean="0"/>
              <a:t>Четвертый уровень</a:t>
            </a:r>
          </a:p>
          <a:p>
            <a:pPr lvl="4"/>
            <a:r>
              <a:rPr lang="en-US" altLang="en-US" smtClean="0"/>
              <a:t>Пятый уровень</a:t>
            </a:r>
            <a:endParaRPr lang="ru-RU" altLang="en-US" smtClean="0"/>
          </a:p>
        </p:txBody>
      </p:sp>
      <p:pic>
        <p:nvPicPr>
          <p:cNvPr id="4100" name="Picture 32" descr="oschad-01.jp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788" y="7091363"/>
            <a:ext cx="938212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ontent Placeholder 14"/>
          <p:cNvSpPr txBox="1">
            <a:spLocks/>
          </p:cNvSpPr>
          <p:nvPr/>
        </p:nvSpPr>
        <p:spPr>
          <a:xfrm>
            <a:off x="757238" y="7194550"/>
            <a:ext cx="184372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Київ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,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березень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2015 року</a:t>
            </a:r>
          </a:p>
        </p:txBody>
      </p:sp>
      <p:sp>
        <p:nvSpPr>
          <p:cNvPr id="14" name="Content Placeholder 14"/>
          <p:cNvSpPr txBox="1">
            <a:spLocks/>
          </p:cNvSpPr>
          <p:nvPr/>
        </p:nvSpPr>
        <p:spPr>
          <a:xfrm>
            <a:off x="3636963" y="7194550"/>
            <a:ext cx="270351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Стратегія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розвитку</a:t>
            </a:r>
            <a:r>
              <a:rPr lang="ru-RU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 </a:t>
            </a:r>
            <a:r>
              <a:rPr lang="ru-RU" altLang="zh-CN" sz="900" dirty="0" err="1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Ощадбанк</a:t>
            </a:r>
            <a:endParaRPr lang="ru-RU" altLang="zh-CN" sz="900" dirty="0" smtClean="0">
              <a:solidFill>
                <a:srgbClr val="7F7F7F"/>
              </a:solidFill>
              <a:latin typeface="Trebuchet MS" pitchFamily="34" charset="0"/>
              <a:ea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261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2" r:id="rId11"/>
  </p:sldLayoutIdLst>
  <p:txStyles>
    <p:titleStyle>
      <a:lvl1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Trebuchet MS"/>
          <a:ea typeface="Arial" charset="0"/>
          <a:cs typeface="Trebuchet MS"/>
        </a:defRPr>
      </a:lvl1pPr>
      <a:lvl2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2pPr>
      <a:lvl3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3pPr>
      <a:lvl4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4pPr>
      <a:lvl5pPr marL="292100" indent="-1588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5pPr>
      <a:lvl6pPr marL="521437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6pPr>
      <a:lvl7pPr marL="1042873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7pPr>
      <a:lvl8pPr marL="1564310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8pPr>
      <a:lvl9pPr marL="2085746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9pPr>
    </p:titleStyle>
    <p:bodyStyle>
      <a:lvl1pPr marL="342900" indent="-34290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1pPr>
      <a:lvl2pPr marL="520700" indent="-6350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2pPr>
      <a:lvl3pPr marL="1042988" indent="-12858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3pPr>
      <a:lvl4pPr marL="1563688" indent="-19208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4pPr>
      <a:lvl5pPr marL="2085975" indent="-25717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74959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5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465138"/>
            <a:ext cx="9837738" cy="1509712"/>
          </a:xfrm>
          <a:prstGeom prst="rect">
            <a:avLst/>
          </a:prstGeom>
          <a:solidFill>
            <a:srgbClr val="92C1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err="1" smtClean="0"/>
              <a:t>Click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o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edit</a:t>
            </a:r>
            <a:r>
              <a:rPr lang="ru-RU" altLang="en-US" dirty="0" smtClean="0"/>
              <a:t> </a:t>
            </a:r>
            <a:br>
              <a:rPr lang="ru-RU" altLang="en-US" dirty="0" smtClean="0"/>
            </a:br>
            <a:r>
              <a:rPr lang="ru-RU" altLang="en-US" dirty="0" err="1" smtClean="0"/>
              <a:t>Master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itle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style</a:t>
            </a:r>
            <a:endParaRPr lang="ru-RU" altLang="en-US" dirty="0" smtClean="0"/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2508250"/>
            <a:ext cx="9829800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smtClean="0"/>
              <a:t>Образец текста</a:t>
            </a:r>
          </a:p>
          <a:p>
            <a:pPr lvl="1"/>
            <a:r>
              <a:rPr lang="ru-RU" altLang="en-US" dirty="0" smtClean="0"/>
              <a:t>Второй уровень</a:t>
            </a:r>
          </a:p>
          <a:p>
            <a:pPr lvl="2"/>
            <a:r>
              <a:rPr lang="ru-RU" altLang="en-US" dirty="0" smtClean="0"/>
              <a:t>Третий уровень</a:t>
            </a:r>
          </a:p>
          <a:p>
            <a:pPr lvl="3"/>
            <a:r>
              <a:rPr lang="ru-RU" altLang="en-US" dirty="0" smtClean="0"/>
              <a:t>Четвертый уровень</a:t>
            </a:r>
          </a:p>
          <a:p>
            <a:pPr lvl="4"/>
            <a:r>
              <a:rPr lang="ru-RU" altLang="en-US" dirty="0" smtClean="0"/>
              <a:t>Пятый уровень</a:t>
            </a:r>
          </a:p>
        </p:txBody>
      </p:sp>
      <p:pic>
        <p:nvPicPr>
          <p:cNvPr id="2052" name="Picture 32" descr="oschad-01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788" y="7091363"/>
            <a:ext cx="938212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14"/>
          <p:cNvSpPr txBox="1">
            <a:spLocks/>
          </p:cNvSpPr>
          <p:nvPr/>
        </p:nvSpPr>
        <p:spPr>
          <a:xfrm>
            <a:off x="757238" y="7194550"/>
            <a:ext cx="192500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uk-UA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Київ, вересень 2015 року</a:t>
            </a:r>
          </a:p>
        </p:txBody>
      </p:sp>
      <p:sp>
        <p:nvSpPr>
          <p:cNvPr id="12" name="Content Placeholder 14"/>
          <p:cNvSpPr txBox="1">
            <a:spLocks/>
          </p:cNvSpPr>
          <p:nvPr/>
        </p:nvSpPr>
        <p:spPr>
          <a:xfrm>
            <a:off x="3636963" y="7194550"/>
            <a:ext cx="270351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uk-UA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Актуалізація стратегічних напрямів</a:t>
            </a:r>
          </a:p>
        </p:txBody>
      </p:sp>
    </p:spTree>
    <p:extLst>
      <p:ext uri="{BB962C8B-B14F-4D97-AF65-F5344CB8AC3E}">
        <p14:creationId xmlns:p14="http://schemas.microsoft.com/office/powerpoint/2010/main" val="2117618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</p:sldLayoutIdLst>
  <p:hf hdr="0" ftr="0" dt="0"/>
  <p:txStyles>
    <p:titleStyle>
      <a:lvl1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Trebuchet MS"/>
          <a:ea typeface="Arial" charset="0"/>
          <a:cs typeface="Trebuchet MS"/>
        </a:defRPr>
      </a:lvl1pPr>
      <a:lvl2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2pPr>
      <a:lvl3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3pPr>
      <a:lvl4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4pPr>
      <a:lvl5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5pPr>
      <a:lvl6pPr marL="521437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6pPr>
      <a:lvl7pPr marL="1042873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7pPr>
      <a:lvl8pPr marL="1564310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8pPr>
      <a:lvl9pPr marL="2085746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60327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7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465138"/>
            <a:ext cx="9837738" cy="1509712"/>
          </a:xfrm>
          <a:prstGeom prst="rect">
            <a:avLst/>
          </a:prstGeom>
          <a:solidFill>
            <a:srgbClr val="92C1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err="1" smtClean="0"/>
              <a:t>Click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o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edit</a:t>
            </a:r>
            <a:r>
              <a:rPr lang="ru-RU" altLang="en-US" dirty="0" smtClean="0"/>
              <a:t> </a:t>
            </a:r>
            <a:br>
              <a:rPr lang="ru-RU" altLang="en-US" dirty="0" smtClean="0"/>
            </a:br>
            <a:r>
              <a:rPr lang="ru-RU" altLang="en-US" dirty="0" err="1" smtClean="0"/>
              <a:t>Master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itle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style</a:t>
            </a:r>
            <a:endParaRPr lang="ru-RU" altLang="en-US" dirty="0" smtClean="0"/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2508250"/>
            <a:ext cx="9829800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smtClean="0"/>
              <a:t>Образец текста</a:t>
            </a:r>
          </a:p>
          <a:p>
            <a:pPr lvl="1"/>
            <a:r>
              <a:rPr lang="ru-RU" altLang="en-US" dirty="0" smtClean="0"/>
              <a:t>Второй уровень</a:t>
            </a:r>
          </a:p>
          <a:p>
            <a:pPr lvl="2"/>
            <a:r>
              <a:rPr lang="ru-RU" altLang="en-US" dirty="0" smtClean="0"/>
              <a:t>Третий уровень</a:t>
            </a:r>
          </a:p>
          <a:p>
            <a:pPr lvl="3"/>
            <a:r>
              <a:rPr lang="ru-RU" altLang="en-US" dirty="0" smtClean="0"/>
              <a:t>Четвертый уровень</a:t>
            </a:r>
          </a:p>
          <a:p>
            <a:pPr lvl="4"/>
            <a:r>
              <a:rPr lang="ru-RU" altLang="en-US" dirty="0" smtClean="0"/>
              <a:t>Пятый уровень</a:t>
            </a:r>
          </a:p>
        </p:txBody>
      </p:sp>
      <p:pic>
        <p:nvPicPr>
          <p:cNvPr id="2052" name="Picture 32" descr="oschad-01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788" y="7091363"/>
            <a:ext cx="938212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14"/>
          <p:cNvSpPr txBox="1">
            <a:spLocks/>
          </p:cNvSpPr>
          <p:nvPr/>
        </p:nvSpPr>
        <p:spPr>
          <a:xfrm>
            <a:off x="757238" y="7194550"/>
            <a:ext cx="192500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uk-UA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Київ, вересень 2015 року</a:t>
            </a:r>
          </a:p>
        </p:txBody>
      </p:sp>
      <p:sp>
        <p:nvSpPr>
          <p:cNvPr id="12" name="Content Placeholder 14"/>
          <p:cNvSpPr txBox="1">
            <a:spLocks/>
          </p:cNvSpPr>
          <p:nvPr/>
        </p:nvSpPr>
        <p:spPr>
          <a:xfrm>
            <a:off x="3636963" y="7194550"/>
            <a:ext cx="270351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uk-UA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Актуалізація стратегічних напрямів</a:t>
            </a:r>
          </a:p>
        </p:txBody>
      </p:sp>
    </p:spTree>
    <p:extLst>
      <p:ext uri="{BB962C8B-B14F-4D97-AF65-F5344CB8AC3E}">
        <p14:creationId xmlns:p14="http://schemas.microsoft.com/office/powerpoint/2010/main" val="1897037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</p:sldLayoutIdLst>
  <p:hf hdr="0" ftr="0" dt="0"/>
  <p:txStyles>
    <p:titleStyle>
      <a:lvl1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Trebuchet MS"/>
          <a:ea typeface="Arial" charset="0"/>
          <a:cs typeface="Trebuchet MS"/>
        </a:defRPr>
      </a:lvl1pPr>
      <a:lvl2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2pPr>
      <a:lvl3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3pPr>
      <a:lvl4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4pPr>
      <a:lvl5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5pPr>
      <a:lvl6pPr marL="521437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6pPr>
      <a:lvl7pPr marL="1042873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7pPr>
      <a:lvl8pPr marL="1564310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8pPr>
      <a:lvl9pPr marL="2085746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95030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0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465138"/>
            <a:ext cx="9837738" cy="1509712"/>
          </a:xfrm>
          <a:prstGeom prst="rect">
            <a:avLst/>
          </a:prstGeom>
          <a:solidFill>
            <a:srgbClr val="92C1E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err="1" smtClean="0"/>
              <a:t>Click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o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edit</a:t>
            </a:r>
            <a:r>
              <a:rPr lang="ru-RU" altLang="en-US" dirty="0" smtClean="0"/>
              <a:t> </a:t>
            </a:r>
            <a:br>
              <a:rPr lang="ru-RU" altLang="en-US" dirty="0" smtClean="0"/>
            </a:br>
            <a:r>
              <a:rPr lang="ru-RU" altLang="en-US" dirty="0" err="1" smtClean="0"/>
              <a:t>Master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title</a:t>
            </a:r>
            <a:r>
              <a:rPr lang="ru-RU" altLang="en-US" dirty="0" smtClean="0"/>
              <a:t> </a:t>
            </a:r>
            <a:r>
              <a:rPr lang="ru-RU" altLang="en-US" dirty="0" err="1" smtClean="0"/>
              <a:t>style</a:t>
            </a:r>
            <a:endParaRPr lang="ru-RU" altLang="en-US" dirty="0" smtClean="0"/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2508250"/>
            <a:ext cx="9829800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 smtClean="0"/>
              <a:t>Образец текста</a:t>
            </a:r>
          </a:p>
          <a:p>
            <a:pPr lvl="1"/>
            <a:r>
              <a:rPr lang="ru-RU" altLang="en-US" dirty="0" smtClean="0"/>
              <a:t>Второй уровень</a:t>
            </a:r>
          </a:p>
          <a:p>
            <a:pPr lvl="2"/>
            <a:r>
              <a:rPr lang="ru-RU" altLang="en-US" dirty="0" smtClean="0"/>
              <a:t>Третий уровень</a:t>
            </a:r>
          </a:p>
          <a:p>
            <a:pPr lvl="3"/>
            <a:r>
              <a:rPr lang="ru-RU" altLang="en-US" dirty="0" smtClean="0"/>
              <a:t>Четвертый уровень</a:t>
            </a:r>
          </a:p>
          <a:p>
            <a:pPr lvl="4"/>
            <a:r>
              <a:rPr lang="ru-RU" altLang="en-US" dirty="0" smtClean="0"/>
              <a:t>Пятый уровень</a:t>
            </a:r>
          </a:p>
        </p:txBody>
      </p:sp>
      <p:pic>
        <p:nvPicPr>
          <p:cNvPr id="2052" name="Picture 32" descr="oschad-01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788" y="7091363"/>
            <a:ext cx="938212" cy="47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14"/>
          <p:cNvSpPr txBox="1">
            <a:spLocks/>
          </p:cNvSpPr>
          <p:nvPr/>
        </p:nvSpPr>
        <p:spPr>
          <a:xfrm>
            <a:off x="757238" y="7194550"/>
            <a:ext cx="192500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uk-UA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Київ, вересень 2015 року</a:t>
            </a:r>
          </a:p>
        </p:txBody>
      </p:sp>
      <p:sp>
        <p:nvSpPr>
          <p:cNvPr id="12" name="Content Placeholder 14"/>
          <p:cNvSpPr txBox="1">
            <a:spLocks/>
          </p:cNvSpPr>
          <p:nvPr/>
        </p:nvSpPr>
        <p:spPr>
          <a:xfrm>
            <a:off x="3636963" y="7194550"/>
            <a:ext cx="2703512" cy="368300"/>
          </a:xfrm>
          <a:prstGeom prst="rect">
            <a:avLst/>
          </a:prstGeom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uk-UA" altLang="zh-CN" sz="900" dirty="0" smtClean="0">
                <a:solidFill>
                  <a:srgbClr val="7F7F7F"/>
                </a:solidFill>
                <a:latin typeface="Trebuchet MS" pitchFamily="34" charset="0"/>
                <a:ea typeface="Arial" pitchFamily="34" charset="0"/>
              </a:rPr>
              <a:t>Актуалізація стратегічних напрямів</a:t>
            </a:r>
          </a:p>
        </p:txBody>
      </p:sp>
    </p:spTree>
    <p:extLst>
      <p:ext uri="{BB962C8B-B14F-4D97-AF65-F5344CB8AC3E}">
        <p14:creationId xmlns:p14="http://schemas.microsoft.com/office/powerpoint/2010/main" val="969146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</p:sldLayoutIdLst>
  <p:hf hdr="0" ftr="0" dt="0"/>
  <p:txStyles>
    <p:titleStyle>
      <a:lvl1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Trebuchet MS"/>
          <a:ea typeface="Arial" charset="0"/>
          <a:cs typeface="Trebuchet MS"/>
        </a:defRPr>
      </a:lvl1pPr>
      <a:lvl2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2pPr>
      <a:lvl3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3pPr>
      <a:lvl4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4pPr>
      <a:lvl5pPr marL="292100" indent="-4763" algn="l" defTabSz="5207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charset="0"/>
          <a:ea typeface="Arial" charset="0"/>
        </a:defRPr>
      </a:lvl5pPr>
      <a:lvl6pPr marL="521437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6pPr>
      <a:lvl7pPr marL="1042873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7pPr>
      <a:lvl8pPr marL="1564310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8pPr>
      <a:lvl9pPr marL="2085746" algn="l" defTabSz="521437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Trebuchet MS" charset="0"/>
          <a:ea typeface="Arial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500" kern="1200">
          <a:solidFill>
            <a:schemeClr val="tx1"/>
          </a:solidFill>
          <a:latin typeface="Trebuchet MS"/>
          <a:ea typeface="Arial" charset="0"/>
          <a:cs typeface="Trebuchet M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png"/><Relationship Id="rId9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Текст 4"/>
          <p:cNvSpPr>
            <a:spLocks noGrp="1"/>
          </p:cNvSpPr>
          <p:nvPr>
            <p:ph type="body" sz="quarter" idx="4294967295"/>
          </p:nvPr>
        </p:nvSpPr>
        <p:spPr>
          <a:xfrm>
            <a:off x="0" y="1672918"/>
            <a:ext cx="10688638" cy="958133"/>
          </a:xfrm>
        </p:spPr>
        <p:txBody>
          <a:bodyPr/>
          <a:lstStyle/>
          <a:p>
            <a:pPr marL="0" indent="0" algn="ctr">
              <a:buNone/>
            </a:pPr>
            <a:r>
              <a:rPr lang="uk-UA" altLang="zh-CN" sz="6000" b="1" dirty="0" smtClean="0">
                <a:solidFill>
                  <a:srgbClr val="FFFFFF"/>
                </a:solidFill>
                <a:latin typeface="Trebuchet MS" panose="020B0603020202020204" pitchFamily="34" charset="0"/>
                <a:ea typeface="Arial" panose="020B0604020202020204" pitchFamily="34" charset="0"/>
                <a:cs typeface="Trebuchet MS" panose="020B0603020202020204" pitchFamily="34" charset="0"/>
              </a:rPr>
              <a:t>МІЙ БАНК</a:t>
            </a:r>
          </a:p>
          <a:p>
            <a:pPr marL="0" indent="0" algn="ctr">
              <a:buNone/>
            </a:pPr>
            <a:endParaRPr lang="uk-UA" altLang="zh-CN" sz="1200" b="1" dirty="0" smtClean="0">
              <a:solidFill>
                <a:srgbClr val="FFFFFF"/>
              </a:solidFill>
              <a:latin typeface="Trebuchet MS" panose="020B0603020202020204" pitchFamily="34" charset="0"/>
              <a:ea typeface="Arial" panose="020B0604020202020204" pitchFamily="34" charset="0"/>
              <a:cs typeface="Trebuchet MS" panose="020B0603020202020204" pitchFamily="34" charset="0"/>
            </a:endParaRPr>
          </a:p>
        </p:txBody>
      </p:sp>
      <p:pic>
        <p:nvPicPr>
          <p:cNvPr id="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205477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Текст 4"/>
          <p:cNvSpPr>
            <a:spLocks noGrp="1"/>
          </p:cNvSpPr>
          <p:nvPr>
            <p:ph type="body" sz="quarter" idx="4294967295"/>
          </p:nvPr>
        </p:nvSpPr>
        <p:spPr>
          <a:xfrm>
            <a:off x="0" y="3682693"/>
            <a:ext cx="10688638" cy="958133"/>
          </a:xfrm>
        </p:spPr>
        <p:txBody>
          <a:bodyPr/>
          <a:lstStyle/>
          <a:p>
            <a:pPr marL="0" indent="0" algn="ctr">
              <a:buNone/>
            </a:pPr>
            <a:r>
              <a:rPr lang="uk-UA" altLang="zh-CN" sz="6000" b="1" dirty="0" smtClean="0">
                <a:solidFill>
                  <a:srgbClr val="FFFFFF"/>
                </a:solidFill>
                <a:latin typeface="Trebuchet MS" panose="020B0603020202020204" pitchFamily="34" charset="0"/>
                <a:ea typeface="Arial" panose="020B0604020202020204" pitchFamily="34" charset="0"/>
                <a:cs typeface="Trebuchet MS" panose="020B0603020202020204" pitchFamily="34" charset="0"/>
              </a:rPr>
              <a:t>МОЯ КРАЇНА</a:t>
            </a:r>
          </a:p>
          <a:p>
            <a:pPr marL="0" indent="0" algn="ctr">
              <a:buNone/>
            </a:pPr>
            <a:endParaRPr lang="uk-UA" altLang="zh-CN" sz="1200" b="1" dirty="0" smtClean="0">
              <a:solidFill>
                <a:srgbClr val="FFFFFF"/>
              </a:solidFill>
              <a:latin typeface="Trebuchet MS" panose="020B0603020202020204" pitchFamily="34" charset="0"/>
              <a:ea typeface="Arial" panose="020B0604020202020204" pitchFamily="34" charset="0"/>
              <a:cs typeface="Trebuchet MS" panose="020B0603020202020204" pitchFamily="34" charset="0"/>
            </a:endParaRPr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4294967295"/>
          </p:nvPr>
        </p:nvSpPr>
        <p:spPr>
          <a:xfrm>
            <a:off x="0" y="5692468"/>
            <a:ext cx="10688638" cy="958133"/>
          </a:xfrm>
        </p:spPr>
        <p:txBody>
          <a:bodyPr/>
          <a:lstStyle/>
          <a:p>
            <a:pPr marL="0" indent="0" algn="ctr">
              <a:buNone/>
            </a:pPr>
            <a:r>
              <a:rPr lang="uk-UA" altLang="zh-CN" sz="6000" b="1" dirty="0" smtClean="0">
                <a:solidFill>
                  <a:srgbClr val="FFFFFF"/>
                </a:solidFill>
                <a:latin typeface="Trebuchet MS" panose="020B0603020202020204" pitchFamily="34" charset="0"/>
                <a:ea typeface="Arial" panose="020B0604020202020204" pitchFamily="34" charset="0"/>
                <a:cs typeface="Trebuchet MS" panose="020B0603020202020204" pitchFamily="34" charset="0"/>
              </a:rPr>
              <a:t>МІЙ БАНКІНГ</a:t>
            </a:r>
          </a:p>
          <a:p>
            <a:pPr marL="0" indent="0" algn="ctr">
              <a:buNone/>
            </a:pPr>
            <a:endParaRPr lang="uk-UA" altLang="zh-CN" sz="1200" b="1" dirty="0" smtClean="0">
              <a:solidFill>
                <a:srgbClr val="FFFFFF"/>
              </a:solidFill>
              <a:latin typeface="Trebuchet MS" panose="020B0603020202020204" pitchFamily="34" charset="0"/>
              <a:ea typeface="Arial" panose="020B0604020202020204" pitchFamily="34" charset="0"/>
              <a:cs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799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FCA96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ОПТИМІЗАЦІЯ МЕНЮ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3555" y="3021963"/>
            <a:ext cx="1902642" cy="3385116"/>
          </a:xfrm>
          <a:prstGeom prst="rect">
            <a:avLst/>
          </a:prstGeom>
        </p:spPr>
      </p:pic>
      <p:sp>
        <p:nvSpPr>
          <p:cNvPr id="22" name="TextBox 7"/>
          <p:cNvSpPr txBox="1">
            <a:spLocks noChangeArrowheads="1"/>
          </p:cNvSpPr>
          <p:nvPr/>
        </p:nvSpPr>
        <p:spPr bwMode="auto">
          <a:xfrm>
            <a:off x="863602" y="1915311"/>
            <a:ext cx="9046208" cy="634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36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сервіси по картках тепер в одному меню</a:t>
            </a:r>
          </a:p>
        </p:txBody>
      </p:sp>
    </p:spTree>
    <p:extLst>
      <p:ext uri="{BB962C8B-B14F-4D97-AF65-F5344CB8AC3E}">
        <p14:creationId xmlns:p14="http://schemas.microsoft.com/office/powerpoint/2010/main" val="2369393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8AC4EA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ІСТОРІЯ ОПЕРАЦІЙ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4727" y="2926680"/>
            <a:ext cx="2017600" cy="3589646"/>
          </a:xfrm>
          <a:prstGeom prst="rect">
            <a:avLst/>
          </a:prstGeom>
        </p:spPr>
      </p:pic>
      <p:sp>
        <p:nvSpPr>
          <p:cNvPr id="13" name="TextBox 7"/>
          <p:cNvSpPr txBox="1">
            <a:spLocks noChangeArrowheads="1"/>
          </p:cNvSpPr>
          <p:nvPr/>
        </p:nvSpPr>
        <p:spPr bwMode="auto">
          <a:xfrm>
            <a:off x="863602" y="1830275"/>
            <a:ext cx="9046208" cy="634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36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всі операції разом в одному меню</a:t>
            </a:r>
          </a:p>
        </p:txBody>
      </p:sp>
    </p:spTree>
    <p:extLst>
      <p:ext uri="{BB962C8B-B14F-4D97-AF65-F5344CB8AC3E}">
        <p14:creationId xmlns:p14="http://schemas.microsoft.com/office/powerpoint/2010/main" val="91943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B99BC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КАРТА ВІДДІЛЕНЬ, АТМ ТА ІПТ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2" y="3228919"/>
            <a:ext cx="2063319" cy="36709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427" y="3228919"/>
            <a:ext cx="2063319" cy="367098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3252" y="3228919"/>
            <a:ext cx="2063320" cy="367098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8078" y="3228918"/>
            <a:ext cx="2063320" cy="3670989"/>
          </a:xfrm>
          <a:prstGeom prst="rect">
            <a:avLst/>
          </a:prstGeom>
        </p:spPr>
      </p:pic>
      <p:sp>
        <p:nvSpPr>
          <p:cNvPr id="15" name="TextBox 7"/>
          <p:cNvSpPr txBox="1">
            <a:spLocks noChangeArrowheads="1"/>
          </p:cNvSpPr>
          <p:nvPr/>
        </p:nvSpPr>
        <p:spPr bwMode="auto">
          <a:xfrm>
            <a:off x="863602" y="1955450"/>
            <a:ext cx="9046208" cy="634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3600" dirty="0" err="1" smtClean="0">
                <a:solidFill>
                  <a:schemeClr val="bg1"/>
                </a:solidFill>
                <a:latin typeface="Trebuchet MS" panose="020B0603020202020204" pitchFamily="34" charset="0"/>
              </a:rPr>
              <a:t>гео-локація</a:t>
            </a:r>
            <a:r>
              <a:rPr lang="uk-UA" sz="36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 – банкомати та відділення</a:t>
            </a:r>
          </a:p>
        </p:txBody>
      </p:sp>
    </p:spTree>
    <p:extLst>
      <p:ext uri="{BB962C8B-B14F-4D97-AF65-F5344CB8AC3E}">
        <p14:creationId xmlns:p14="http://schemas.microsoft.com/office/powerpoint/2010/main" val="46326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FCA96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ГЕО-ЛІМІТИ ТА ЗАХИСТ КАРТКИ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74" y="3541464"/>
            <a:ext cx="1902641" cy="338511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113" y="3539525"/>
            <a:ext cx="1902641" cy="338511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718" y="3541464"/>
            <a:ext cx="1901552" cy="338317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0468" y="3541464"/>
            <a:ext cx="1910782" cy="3399600"/>
          </a:xfrm>
          <a:prstGeom prst="rect">
            <a:avLst/>
          </a:prstGeom>
        </p:spPr>
      </p:pic>
      <p:sp>
        <p:nvSpPr>
          <p:cNvPr id="12" name="TextBox 7"/>
          <p:cNvSpPr txBox="1">
            <a:spLocks noChangeArrowheads="1"/>
          </p:cNvSpPr>
          <p:nvPr/>
        </p:nvSpPr>
        <p:spPr bwMode="auto">
          <a:xfrm>
            <a:off x="820421" y="1924672"/>
            <a:ext cx="9046208" cy="1065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3200" dirty="0" err="1" smtClean="0">
                <a:solidFill>
                  <a:schemeClr val="bg1"/>
                </a:solidFill>
                <a:latin typeface="Trebuchet MS" panose="020B0603020202020204" pitchFamily="34" charset="0"/>
              </a:rPr>
              <a:t>гео-обмеження</a:t>
            </a:r>
            <a:r>
              <a:rPr lang="uk-UA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 (</a:t>
            </a:r>
            <a:r>
              <a:rPr lang="uk-UA" sz="3200" dirty="0" err="1" smtClean="0">
                <a:solidFill>
                  <a:schemeClr val="bg1"/>
                </a:solidFill>
                <a:latin typeface="Trebuchet MS" panose="020B0603020202020204" pitchFamily="34" charset="0"/>
              </a:rPr>
              <a:t>гео-ліміти</a:t>
            </a:r>
            <a:r>
              <a:rPr lang="uk-UA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) та захист картки (</a:t>
            </a:r>
            <a:r>
              <a:rPr lang="uk-UA" sz="3200" dirty="0" err="1" smtClean="0">
                <a:solidFill>
                  <a:schemeClr val="bg1"/>
                </a:solidFill>
                <a:latin typeface="Trebuchet MS" panose="020B0603020202020204" pitchFamily="34" charset="0"/>
              </a:rPr>
              <a:t>транзакційне</a:t>
            </a:r>
            <a:r>
              <a:rPr lang="uk-UA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 вікно)</a:t>
            </a:r>
          </a:p>
        </p:txBody>
      </p:sp>
    </p:spTree>
    <p:extLst>
      <p:ext uri="{BB962C8B-B14F-4D97-AF65-F5344CB8AC3E}">
        <p14:creationId xmlns:p14="http://schemas.microsoft.com/office/powerpoint/2010/main" val="3806750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FCA96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600">
              <a:solidFill>
                <a:srgbClr val="70CAC1"/>
              </a:solidFill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1623708" y="2643846"/>
            <a:ext cx="7806042" cy="109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66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ДЯКУЄМО ЗА УВАГУ</a:t>
            </a:r>
          </a:p>
        </p:txBody>
      </p:sp>
    </p:spTree>
    <p:extLst>
      <p:ext uri="{BB962C8B-B14F-4D97-AF65-F5344CB8AC3E}">
        <p14:creationId xmlns:p14="http://schemas.microsoft.com/office/powerpoint/2010/main" val="2390851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FCA96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en-US" altLang="ru-RU" sz="2800" b="1" dirty="0" smtClean="0">
                <a:latin typeface="Trebuchet MS" panose="020B0603020202020204" pitchFamily="34" charset="0"/>
              </a:rPr>
              <a:t>MOBILE-</a:t>
            </a:r>
            <a:r>
              <a:rPr lang="uk-UA" altLang="ru-RU" sz="2800" b="1" dirty="0" smtClean="0">
                <a:latin typeface="Trebuchet MS" panose="020B0603020202020204" pitchFamily="34" charset="0"/>
              </a:rPr>
              <a:t>БАНКІНГ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0" name="Picture 2" descr="https://www.mts.ca/file_source/mts/assets/img/wireless_devices/iphones/Apple-iPhone-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115" y="1360141"/>
            <a:ext cx="5238750" cy="590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/>
          <a:srcRect l="36809" t="6013" r="36869" b="11191"/>
          <a:stretch/>
        </p:blipFill>
        <p:spPr>
          <a:xfrm>
            <a:off x="7449746" y="1982973"/>
            <a:ext cx="2430379" cy="4292928"/>
          </a:xfrm>
          <a:prstGeom prst="rect">
            <a:avLst/>
          </a:prstGeom>
        </p:spPr>
      </p:pic>
      <p:sp>
        <p:nvSpPr>
          <p:cNvPr id="28" name="TextBox 7"/>
          <p:cNvSpPr txBox="1">
            <a:spLocks noChangeArrowheads="1"/>
          </p:cNvSpPr>
          <p:nvPr/>
        </p:nvSpPr>
        <p:spPr bwMode="auto">
          <a:xfrm>
            <a:off x="808642" y="1655301"/>
            <a:ext cx="6441908" cy="69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ctr">
              <a:spcAft>
                <a:spcPts val="200"/>
              </a:spcAft>
            </a:pPr>
            <a:r>
              <a:rPr lang="uk-UA" sz="40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новий </a:t>
            </a:r>
            <a:r>
              <a:rPr lang="en-US" sz="40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mobile-banking </a:t>
            </a:r>
            <a:r>
              <a:rPr lang="uk-UA" sz="4000" b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це: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25" y="3559170"/>
            <a:ext cx="720000" cy="720000"/>
          </a:xfrm>
          <a:prstGeom prst="ellipse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25" y="6355484"/>
            <a:ext cx="720000" cy="720000"/>
          </a:xfrm>
          <a:prstGeom prst="ellipse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417" y="5416640"/>
            <a:ext cx="720000" cy="720000"/>
          </a:xfrm>
          <a:prstGeom prst="ellipse">
            <a:avLst/>
          </a:prstGeom>
        </p:spPr>
      </p:pic>
      <p:sp>
        <p:nvSpPr>
          <p:cNvPr id="33" name="TextBox 7"/>
          <p:cNvSpPr txBox="1">
            <a:spLocks noChangeArrowheads="1"/>
          </p:cNvSpPr>
          <p:nvPr/>
        </p:nvSpPr>
        <p:spPr bwMode="auto">
          <a:xfrm>
            <a:off x="2060752" y="3559170"/>
            <a:ext cx="4631823" cy="81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ctr">
              <a:spcAft>
                <a:spcPts val="200"/>
              </a:spcAft>
            </a:pPr>
            <a:r>
              <a:rPr lang="uk-UA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платежі на будь-які рахунки та на вільні реквізити</a:t>
            </a:r>
          </a:p>
        </p:txBody>
      </p:sp>
      <p:sp>
        <p:nvSpPr>
          <p:cNvPr id="34" name="TextBox 7"/>
          <p:cNvSpPr txBox="1">
            <a:spLocks noChangeArrowheads="1"/>
          </p:cNvSpPr>
          <p:nvPr/>
        </p:nvSpPr>
        <p:spPr bwMode="auto">
          <a:xfrm>
            <a:off x="2080128" y="6200521"/>
            <a:ext cx="4631823" cy="1029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ctr">
              <a:spcAft>
                <a:spcPts val="200"/>
              </a:spcAft>
            </a:pPr>
            <a:r>
              <a:rPr lang="uk-UA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управління послугами</a:t>
            </a:r>
          </a:p>
          <a:p>
            <a:pPr algn="ctr">
              <a:spcAft>
                <a:spcPts val="200"/>
              </a:spcAft>
            </a:pPr>
            <a:r>
              <a:rPr lang="uk-UA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(</a:t>
            </a:r>
            <a:r>
              <a:rPr lang="en-US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sms-</a:t>
            </a:r>
            <a:r>
              <a:rPr lang="uk-UA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підключення</a:t>
            </a:r>
            <a:r>
              <a:rPr lang="ru-RU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, </a:t>
            </a:r>
            <a:r>
              <a:rPr lang="uk-UA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блокування</a:t>
            </a:r>
            <a:r>
              <a:rPr lang="ru-RU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 картки, управління </a:t>
            </a:r>
            <a:r>
              <a:rPr lang="uk-UA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лімітами</a:t>
            </a:r>
            <a:r>
              <a:rPr lang="ru-RU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uk-UA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тощо</a:t>
            </a:r>
            <a:r>
              <a:rPr lang="ru-RU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)</a:t>
            </a:r>
            <a:endParaRPr lang="uk-UA" i="1" dirty="0" smtClean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35" name="TextBox 7"/>
          <p:cNvSpPr txBox="1">
            <a:spLocks noChangeArrowheads="1"/>
          </p:cNvSpPr>
          <p:nvPr/>
        </p:nvSpPr>
        <p:spPr bwMode="auto">
          <a:xfrm>
            <a:off x="1894170" y="5285319"/>
            <a:ext cx="4631823" cy="845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ctr">
              <a:spcAft>
                <a:spcPts val="200"/>
              </a:spcAft>
            </a:pPr>
            <a:r>
              <a:rPr lang="uk-UA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геолокація</a:t>
            </a:r>
            <a:endParaRPr lang="uk-UA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ctr">
              <a:spcAft>
                <a:spcPts val="200"/>
              </a:spcAft>
            </a:pPr>
            <a:r>
              <a:rPr lang="uk-UA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(відділення, АТМ, ІПТ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25" y="4513480"/>
            <a:ext cx="720000" cy="720000"/>
          </a:xfrm>
          <a:prstGeom prst="ellipse">
            <a:avLst/>
          </a:prstGeom>
        </p:spPr>
      </p:pic>
      <p:sp>
        <p:nvSpPr>
          <p:cNvPr id="15" name="TextBox 7"/>
          <p:cNvSpPr txBox="1">
            <a:spLocks noChangeArrowheads="1"/>
          </p:cNvSpPr>
          <p:nvPr/>
        </p:nvSpPr>
        <p:spPr bwMode="auto">
          <a:xfrm>
            <a:off x="2060754" y="4655789"/>
            <a:ext cx="4631823" cy="45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ctr">
              <a:spcAft>
                <a:spcPts val="200"/>
              </a:spcAft>
            </a:pPr>
            <a:r>
              <a:rPr lang="uk-UA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регулярні платежі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25" y="2604860"/>
            <a:ext cx="720000" cy="720000"/>
          </a:xfrm>
          <a:prstGeom prst="ellipse">
            <a:avLst/>
          </a:prstGeom>
        </p:spPr>
      </p:pic>
      <p:sp>
        <p:nvSpPr>
          <p:cNvPr id="17" name="TextBox 7"/>
          <p:cNvSpPr txBox="1">
            <a:spLocks noChangeArrowheads="1"/>
          </p:cNvSpPr>
          <p:nvPr/>
        </p:nvSpPr>
        <p:spPr bwMode="auto">
          <a:xfrm>
            <a:off x="2060753" y="2555053"/>
            <a:ext cx="4631823" cy="81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ctr">
              <a:spcAft>
                <a:spcPts val="200"/>
              </a:spcAft>
            </a:pPr>
            <a:r>
              <a:rPr lang="uk-UA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мультиканальна платформа з </a:t>
            </a:r>
            <a:r>
              <a:rPr lang="en-US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web-</a:t>
            </a:r>
            <a:r>
              <a:rPr lang="uk-UA" sz="24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банкінгом</a:t>
            </a:r>
          </a:p>
        </p:txBody>
      </p:sp>
    </p:spTree>
    <p:extLst>
      <p:ext uri="{BB962C8B-B14F-4D97-AF65-F5344CB8AC3E}">
        <p14:creationId xmlns:p14="http://schemas.microsoft.com/office/powerpoint/2010/main" val="3785037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35" grpId="0"/>
      <p:bldP spid="15" grpId="0"/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FF585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РЕЄСТРАЦІЯ В</a:t>
            </a:r>
            <a:r>
              <a:rPr lang="en-US" altLang="ru-RU" sz="2800" b="1" dirty="0" smtClean="0">
                <a:latin typeface="Trebuchet MS" panose="020B0603020202020204" pitchFamily="34" charset="0"/>
              </a:rPr>
              <a:t> MOBILE</a:t>
            </a:r>
            <a:r>
              <a:rPr lang="uk-UA" altLang="ru-RU" sz="2800" b="1" dirty="0" smtClean="0">
                <a:latin typeface="Trebuchet MS" panose="020B0603020202020204" pitchFamily="34" charset="0"/>
              </a:rPr>
              <a:t>-БАНКІНГУ</a:t>
            </a: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843" y="2735975"/>
            <a:ext cx="2036521" cy="362331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162" y="2735975"/>
            <a:ext cx="2036521" cy="3623310"/>
          </a:xfrm>
          <a:prstGeom prst="rect">
            <a:avLst/>
          </a:prstGeom>
        </p:spPr>
      </p:pic>
      <p:sp>
        <p:nvSpPr>
          <p:cNvPr id="26" name="TextBox 7"/>
          <p:cNvSpPr txBox="1">
            <a:spLocks noChangeArrowheads="1"/>
          </p:cNvSpPr>
          <p:nvPr/>
        </p:nvSpPr>
        <p:spPr bwMode="auto">
          <a:xfrm>
            <a:off x="820421" y="1843459"/>
            <a:ext cx="9046208" cy="634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36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проста реєстрація в новому банкінгу</a:t>
            </a:r>
          </a:p>
        </p:txBody>
      </p:sp>
    </p:spTree>
    <p:extLst>
      <p:ext uri="{BB962C8B-B14F-4D97-AF65-F5344CB8AC3E}">
        <p14:creationId xmlns:p14="http://schemas.microsoft.com/office/powerpoint/2010/main" val="425988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FCA96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ОПЕРАЦІЇ З РАХУНКАМИ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3301" y="3335572"/>
            <a:ext cx="1899080" cy="3378780"/>
          </a:xfrm>
          <a:prstGeom prst="rect">
            <a:avLst/>
          </a:prstGeom>
        </p:spPr>
      </p:pic>
      <p:sp>
        <p:nvSpPr>
          <p:cNvPr id="24" name="TextBox 7"/>
          <p:cNvSpPr txBox="1">
            <a:spLocks noChangeArrowheads="1"/>
          </p:cNvSpPr>
          <p:nvPr/>
        </p:nvSpPr>
        <p:spPr bwMode="auto">
          <a:xfrm>
            <a:off x="820421" y="1863230"/>
            <a:ext cx="9046208" cy="1065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Розширений</a:t>
            </a:r>
            <a:r>
              <a:rPr lang="ru-RU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uk-UA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функціонал за рахунок платіжних сервісів та платежів на довільні реквізит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8752" y="3335572"/>
            <a:ext cx="1899080" cy="3378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81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8AC4EA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ПЛАТЕЖІ НА ДОВІЛЬНІ РЕКВІЗИТИ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2" y="3334497"/>
            <a:ext cx="2016758" cy="358815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311" y="3334497"/>
            <a:ext cx="2016759" cy="358815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022" y="3334497"/>
            <a:ext cx="2016758" cy="358815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9732" y="3334497"/>
            <a:ext cx="2016759" cy="3588150"/>
          </a:xfrm>
          <a:prstGeom prst="rect">
            <a:avLst/>
          </a:prstGeom>
        </p:spPr>
      </p:pic>
      <p:sp>
        <p:nvSpPr>
          <p:cNvPr id="13" name="TextBox 7"/>
          <p:cNvSpPr txBox="1">
            <a:spLocks noChangeArrowheads="1"/>
          </p:cNvSpPr>
          <p:nvPr/>
        </p:nvSpPr>
        <p:spPr bwMode="auto">
          <a:xfrm>
            <a:off x="863602" y="1810966"/>
            <a:ext cx="9046208" cy="573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ctr">
              <a:spcAft>
                <a:spcPts val="200"/>
              </a:spcAft>
            </a:pPr>
            <a:r>
              <a:rPr lang="uk-UA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платежі на довільні реквізити</a:t>
            </a:r>
          </a:p>
        </p:txBody>
      </p:sp>
    </p:spTree>
    <p:extLst>
      <p:ext uri="{BB962C8B-B14F-4D97-AF65-F5344CB8AC3E}">
        <p14:creationId xmlns:p14="http://schemas.microsoft.com/office/powerpoint/2010/main" val="44228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FCA96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ПЕРІОДИЧНІ ПЛАТЕЖІ ТА ШАБЛОНИ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2" y="3334498"/>
            <a:ext cx="2016759" cy="3588150"/>
          </a:xfrm>
          <a:prstGeom prst="rect">
            <a:avLst/>
          </a:prstGeom>
        </p:spPr>
      </p:pic>
      <p:sp>
        <p:nvSpPr>
          <p:cNvPr id="13" name="TextBox 7"/>
          <p:cNvSpPr txBox="1">
            <a:spLocks noChangeArrowheads="1"/>
          </p:cNvSpPr>
          <p:nvPr/>
        </p:nvSpPr>
        <p:spPr bwMode="auto">
          <a:xfrm>
            <a:off x="863602" y="1810966"/>
            <a:ext cx="9046208" cy="573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ctr">
              <a:spcAft>
                <a:spcPts val="200"/>
              </a:spcAft>
            </a:pPr>
            <a:r>
              <a:rPr lang="uk-UA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регулярні (періодичні) платежі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5938" y="3334498"/>
            <a:ext cx="2016759" cy="358815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275" y="3334498"/>
            <a:ext cx="2016759" cy="358815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5075" y="3334498"/>
            <a:ext cx="2016759" cy="358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042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FCA96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ПОПОВНЕННЯ МОБІЛЬНОГО ТЕЛФОНУ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863602" y="1637977"/>
            <a:ext cx="9046208" cy="1065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>
              <a:spcAft>
                <a:spcPts val="200"/>
              </a:spcAft>
            </a:pPr>
            <a:r>
              <a:rPr lang="uk-UA" sz="32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Функція поповнення мобільного телефону дозволяє не помилитися номером мобільного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958" y="3146930"/>
            <a:ext cx="2014424" cy="35839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546" y="3146930"/>
            <a:ext cx="2001686" cy="356133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397" y="3146930"/>
            <a:ext cx="2001686" cy="356133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8120" y="3146929"/>
            <a:ext cx="2001686" cy="356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738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B99BC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НАЛАШТУВАННЯ СМС-ПОВІДОМЛЕНЬ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2" y="3228920"/>
            <a:ext cx="2063320" cy="367098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4274" y="3228919"/>
            <a:ext cx="2063319" cy="3670989"/>
          </a:xfrm>
          <a:prstGeom prst="rect">
            <a:avLst/>
          </a:prstGeom>
        </p:spPr>
      </p:pic>
      <p:sp>
        <p:nvSpPr>
          <p:cNvPr id="15" name="TextBox 7"/>
          <p:cNvSpPr txBox="1">
            <a:spLocks noChangeArrowheads="1"/>
          </p:cNvSpPr>
          <p:nvPr/>
        </p:nvSpPr>
        <p:spPr bwMode="auto">
          <a:xfrm>
            <a:off x="863602" y="1637977"/>
            <a:ext cx="9046208" cy="1188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36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підключення/відключення карток до послуги </a:t>
            </a:r>
            <a:r>
              <a:rPr lang="uk-UA" sz="3600" dirty="0" err="1" smtClean="0">
                <a:solidFill>
                  <a:schemeClr val="bg1"/>
                </a:solidFill>
                <a:latin typeface="Trebuchet MS" panose="020B0603020202020204" pitchFamily="34" charset="0"/>
              </a:rPr>
              <a:t>смс-повідомлень</a:t>
            </a:r>
            <a:endParaRPr lang="uk-UA" sz="3600" dirty="0" smtClean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958" y="3228917"/>
            <a:ext cx="2063320" cy="3670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222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76250" y="952500"/>
            <a:ext cx="9734550" cy="6269600"/>
          </a:xfrm>
          <a:prstGeom prst="rect">
            <a:avLst/>
          </a:prstGeom>
          <a:solidFill>
            <a:srgbClr val="B99BC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70CAC1"/>
              </a:solidFill>
            </a:endParaRPr>
          </a:p>
        </p:txBody>
      </p: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1894170" y="413891"/>
            <a:ext cx="82988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eaLnBrk="1" hangingPunct="1"/>
            <a:r>
              <a:rPr lang="uk-UA" altLang="ru-RU" sz="2800" b="1" dirty="0" smtClean="0">
                <a:latin typeface="Trebuchet MS" panose="020B0603020202020204" pitchFamily="34" charset="0"/>
              </a:rPr>
              <a:t>ЗМІНА НОМЕРУ ТЕЛЕФОНУ ДЛЯ СМС</a:t>
            </a:r>
            <a:endParaRPr lang="en-US" altLang="ru-RU" sz="2800" b="1" dirty="0" smtClean="0">
              <a:latin typeface="Trebuchet MS" panose="020B0603020202020204" pitchFamily="34" charset="0"/>
            </a:endParaRPr>
          </a:p>
        </p:txBody>
      </p:sp>
      <p:pic>
        <p:nvPicPr>
          <p:cNvPr id="14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2" y="350620"/>
            <a:ext cx="2433052" cy="1208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2" y="3228920"/>
            <a:ext cx="2063320" cy="367098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7540" y="3228919"/>
            <a:ext cx="2063320" cy="367098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479" y="3228918"/>
            <a:ext cx="2063319" cy="367098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278" y="3228917"/>
            <a:ext cx="2063320" cy="3670989"/>
          </a:xfrm>
          <a:prstGeom prst="rect">
            <a:avLst/>
          </a:prstGeom>
        </p:spPr>
      </p:pic>
      <p:sp>
        <p:nvSpPr>
          <p:cNvPr id="12" name="TextBox 7"/>
          <p:cNvSpPr txBox="1">
            <a:spLocks noChangeArrowheads="1"/>
          </p:cNvSpPr>
          <p:nvPr/>
        </p:nvSpPr>
        <p:spPr bwMode="auto">
          <a:xfrm>
            <a:off x="863602" y="1637977"/>
            <a:ext cx="9046208" cy="1188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65" tIns="40083" rIns="80165" bIns="40083">
            <a:spAutoFit/>
          </a:bodyPr>
          <a:lstStyle/>
          <a:p>
            <a:pPr algn="just">
              <a:spcAft>
                <a:spcPts val="200"/>
              </a:spcAft>
            </a:pPr>
            <a:r>
              <a:rPr lang="uk-UA" sz="3600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зміна номеру телефону послуги </a:t>
            </a:r>
            <a:r>
              <a:rPr lang="uk-UA" sz="3600" dirty="0" err="1" smtClean="0">
                <a:solidFill>
                  <a:schemeClr val="bg1"/>
                </a:solidFill>
                <a:latin typeface="Trebuchet MS" panose="020B0603020202020204" pitchFamily="34" charset="0"/>
              </a:rPr>
              <a:t>смс-повідомлень</a:t>
            </a:r>
            <a:endParaRPr lang="uk-UA" sz="3600" dirty="0" smtClean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0823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4&quot;&gt;&lt;elem m_fUsage=&quot;1.00000000000000000000E+000&quot;&gt;&lt;m_msothmcolidx val=&quot;0&quot;/&gt;&lt;m_rgb r=&quot;dc&quot; g=&quot;e6&quot; b=&quot;f2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4f&quot; g=&quot;81&quot; b=&quot;bd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de&quot; g=&quot;f0&quot; b=&quot;d3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4b&quot; g=&quot;ac&quot; b=&quot;c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evolution">
      <a:majorFont>
        <a:latin typeface="Trebuchet MS"/>
        <a:ea typeface=""/>
        <a:cs typeface=""/>
        <a:font script="Jpan" typeface="ＭＳ ゴシック"/>
      </a:majorFont>
      <a:minorFont>
        <a:latin typeface="Trebuchet MS"/>
        <a:ea typeface=""/>
        <a:cs typeface=""/>
        <a:font script="Jpan" typeface="ＭＳ 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Специальное оформление">
  <a:themeElements>
    <a:clrScheme name="ОщадБанк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585D"/>
      </a:accent1>
      <a:accent2>
        <a:srgbClr val="FDAA63"/>
      </a:accent2>
      <a:accent3>
        <a:srgbClr val="6BBBAE"/>
      </a:accent3>
      <a:accent4>
        <a:srgbClr val="92C1E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ОщадБанк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Специальное оформление">
  <a:themeElements>
    <a:clrScheme name="ОщадБанк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585D"/>
      </a:accent1>
      <a:accent2>
        <a:srgbClr val="FDAA63"/>
      </a:accent2>
      <a:accent3>
        <a:srgbClr val="6BBBAE"/>
      </a:accent3>
      <a:accent4>
        <a:srgbClr val="92C1E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ОщадБанк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Специальное оформление">
  <a:themeElements>
    <a:clrScheme name="ОщадБанк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585D"/>
      </a:accent1>
      <a:accent2>
        <a:srgbClr val="FDAA63"/>
      </a:accent2>
      <a:accent3>
        <a:srgbClr val="6BBBAE"/>
      </a:accent3>
      <a:accent4>
        <a:srgbClr val="92C1E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ОщадБанк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5_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6_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7_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800</TotalTime>
  <Words>163</Words>
  <Application>Microsoft Office PowerPoint</Application>
  <PresentationFormat>Произвольный</PresentationFormat>
  <Paragraphs>35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30" baseType="lpstr">
      <vt:lpstr>ＭＳ Ｐゴシック</vt:lpstr>
      <vt:lpstr>ＭＳ Ｐゴシック</vt:lpstr>
      <vt:lpstr>宋体</vt:lpstr>
      <vt:lpstr>Arial</vt:lpstr>
      <vt:lpstr>Arial Narrow</vt:lpstr>
      <vt:lpstr>Calibri</vt:lpstr>
      <vt:lpstr>Trebuchet MS</vt:lpstr>
      <vt:lpstr>Специальное оформление</vt:lpstr>
      <vt:lpstr>3_Специальное оформление</vt:lpstr>
      <vt:lpstr>2_Специальное оформление</vt:lpstr>
      <vt:lpstr>1_Специальное оформление</vt:lpstr>
      <vt:lpstr>4_Специальное оформление</vt:lpstr>
      <vt:lpstr>5_Специальное оформление</vt:lpstr>
      <vt:lpstr>6_Специальное оформление</vt:lpstr>
      <vt:lpstr>7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mytro Oliinyk</dc:creator>
  <cp:lastModifiedBy>Windows User</cp:lastModifiedBy>
  <cp:revision>836</cp:revision>
  <cp:lastPrinted>2016-06-02T07:15:35Z</cp:lastPrinted>
  <dcterms:created xsi:type="dcterms:W3CDTF">2015-03-05T14:55:54Z</dcterms:created>
  <dcterms:modified xsi:type="dcterms:W3CDTF">2016-09-28T17:33:55Z</dcterms:modified>
</cp:coreProperties>
</file>